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bmp" ContentType="image/bmp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3" r:id="rId2"/>
  </p:sldMasterIdLst>
  <p:notesMasterIdLst>
    <p:notesMasterId r:id="rId11"/>
  </p:notesMasterIdLst>
  <p:sldIdLst>
    <p:sldId id="256" r:id="rId3"/>
    <p:sldId id="287" r:id="rId4"/>
    <p:sldId id="292" r:id="rId5"/>
    <p:sldId id="296" r:id="rId6"/>
    <p:sldId id="295" r:id="rId7"/>
    <p:sldId id="297" r:id="rId8"/>
    <p:sldId id="286" r:id="rId9"/>
    <p:sldId id="265" r:id="rId10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40000"/>
    <a:srgbClr val="9954CC"/>
    <a:srgbClr val="760000"/>
    <a:srgbClr val="D98027"/>
    <a:srgbClr val="DBDBDB"/>
    <a:srgbClr val="ABCD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9886" autoAdjust="0"/>
  </p:normalViewPr>
  <p:slideViewPr>
    <p:cSldViewPr snapToGrid="0">
      <p:cViewPr varScale="1">
        <p:scale>
          <a:sx n="104" d="100"/>
          <a:sy n="104" d="100"/>
        </p:scale>
        <p:origin x="-102" y="-24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B6EF46-1441-49B7-863D-8BDB4E7ADAF6}" type="datetimeFigureOut">
              <a:rPr lang="ru-RU" smtClean="0"/>
              <a:t>21.10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45BC76-B373-4BD3-80C9-A57DD206EB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3701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3883854" y="8684826"/>
            <a:ext cx="2972547" cy="457711"/>
          </a:xfrm>
          <a:prstGeom prst="rect">
            <a:avLst/>
          </a:prstGeom>
        </p:spPr>
        <p:txBody>
          <a:bodyPr/>
          <a:lstStyle/>
          <a:p>
            <a:fld id="{16EB139A-4A39-4E6E-80D2-749473CD24A5}" type="slidenum">
              <a:rPr lang="ru-RU" smtClean="0"/>
              <a:pPr/>
              <a:t>5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.xml"/><Relationship Id="rId7" Type="http://schemas.openxmlformats.org/officeDocument/2006/relationships/oleObject" Target="../embeddings/oleObject4.bin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6.xml"/><Relationship Id="rId7" Type="http://schemas.openxmlformats.org/officeDocument/2006/relationships/oleObject" Target="../embeddings/oleObject6.bin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.xml"/><Relationship Id="rId7" Type="http://schemas.openxmlformats.org/officeDocument/2006/relationships/oleObject" Target="../embeddings/oleObject8.bin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67AC2-5C1C-41D3-ABEA-FA100905BA18}" type="datetimeFigureOut">
              <a:rPr lang="ru-RU" smtClean="0"/>
              <a:t>21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6BA7B-29DF-41B2-A5B9-13C5688F3BC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70126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67AC2-5C1C-41D3-ABEA-FA100905BA18}" type="datetimeFigureOut">
              <a:rPr lang="ru-RU" smtClean="0"/>
              <a:t>21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6BA7B-29DF-41B2-A5B9-13C5688F3BC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23041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67AC2-5C1C-41D3-ABEA-FA100905BA18}" type="datetimeFigureOut">
              <a:rPr lang="ru-RU" smtClean="0"/>
              <a:t>21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6BA7B-29DF-41B2-A5B9-13C5688F3BC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43772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>
            <a:extLst>
              <a:ext uri="{FF2B5EF4-FFF2-40B4-BE49-F238E27FC236}">
                <a16:creationId xmlns:a16="http://schemas.microsoft.com/office/drawing/2014/main" xmlns="" id="{20961385-14DA-476B-824B-B8A47606486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269824" y="311046"/>
            <a:ext cx="6235909" cy="6235908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Here to Add Picture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7807416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>
            <a:extLst>
              <a:ext uri="{FF2B5EF4-FFF2-40B4-BE49-F238E27FC236}">
                <a16:creationId xmlns:a16="http://schemas.microsoft.com/office/drawing/2014/main" xmlns="" id="{4DE611A2-571B-4C64-96B2-93EC2FAE24D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300421" y="0"/>
            <a:ext cx="5672380" cy="6858000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Here to Add Picture</a:t>
            </a:r>
            <a:endParaRPr lang="id-ID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E178E297-31F2-4882-90C2-8F9F01C441DF}"/>
              </a:ext>
            </a:extLst>
          </p:cNvPr>
          <p:cNvSpPr/>
          <p:nvPr userDrawn="1"/>
        </p:nvSpPr>
        <p:spPr>
          <a:xfrm>
            <a:off x="659568" y="1997442"/>
            <a:ext cx="2863123" cy="28631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C4E6953C-6154-43BE-84E3-B7925096652B}"/>
              </a:ext>
            </a:extLst>
          </p:cNvPr>
          <p:cNvSpPr/>
          <p:nvPr userDrawn="1"/>
        </p:nvSpPr>
        <p:spPr>
          <a:xfrm>
            <a:off x="3867461" y="1997442"/>
            <a:ext cx="2863123" cy="28631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E9069355-7EC3-49B4-B4D9-3A243C70ED9D}"/>
              </a:ext>
            </a:extLst>
          </p:cNvPr>
          <p:cNvSpPr/>
          <p:nvPr userDrawn="1"/>
        </p:nvSpPr>
        <p:spPr>
          <a:xfrm>
            <a:off x="7075356" y="1997442"/>
            <a:ext cx="2863123" cy="28631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4116E144-1A92-43D2-A43D-6DC44446FE5F}"/>
              </a:ext>
            </a:extLst>
          </p:cNvPr>
          <p:cNvSpPr/>
          <p:nvPr userDrawn="1"/>
        </p:nvSpPr>
        <p:spPr>
          <a:xfrm>
            <a:off x="10283251" y="1997442"/>
            <a:ext cx="2863123" cy="28631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xmlns="" id="{32D53545-7958-484B-AA69-BBD066173F8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59568" y="1997442"/>
            <a:ext cx="2863123" cy="2863121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Here to Add Picture</a:t>
            </a:r>
            <a:endParaRPr lang="id-ID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xmlns="" id="{34C39AF7-13E2-4312-ACC8-2F880D0F7CC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67461" y="1997442"/>
            <a:ext cx="2863123" cy="2863121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Here to Add Picture</a:t>
            </a:r>
            <a:endParaRPr lang="id-ID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xmlns="" id="{B7761A6D-402B-4023-8BFA-C230338B0E5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075356" y="1997442"/>
            <a:ext cx="2863123" cy="2863121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Here to Add Picture</a:t>
            </a:r>
            <a:endParaRPr lang="id-ID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xmlns="" id="{D63332BA-3228-4E24-B0BF-E9FBFC4A56C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283251" y="1997442"/>
            <a:ext cx="2863123" cy="2863121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Here to Add Picture</a:t>
            </a:r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1305896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01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01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7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386" y="476250"/>
            <a:ext cx="3364523" cy="107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633014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Box 12"/>
          <p:cNvSpPr txBox="1">
            <a:spLocks noChangeArrowheads="1"/>
          </p:cNvSpPr>
          <p:nvPr/>
        </p:nvSpPr>
        <p:spPr bwMode="auto">
          <a:xfrm>
            <a:off x="11426092" y="6610351"/>
            <a:ext cx="234462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r" defTabSz="889000" fontAlgn="base">
              <a:spcBef>
                <a:spcPct val="0"/>
              </a:spcBef>
              <a:spcAft>
                <a:spcPct val="0"/>
              </a:spcAft>
              <a:defRPr/>
            </a:pPr>
            <a:fld id="{C130F1CC-3240-45C2-A0B5-29DB8FB7E80C}" type="slidenum">
              <a:rPr lang="en-GB" sz="900">
                <a:solidFill>
                  <a:srgbClr val="000000"/>
                </a:solidFill>
              </a:rPr>
              <a:pPr algn="r" defTabSz="8890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900">
              <a:solidFill>
                <a:srgbClr val="000000"/>
              </a:solidFill>
            </a:endParaRPr>
          </a:p>
        </p:txBody>
      </p:sp>
      <p:sp>
        <p:nvSpPr>
          <p:cNvPr id="7" name="Rectangle 122"/>
          <p:cNvSpPr>
            <a:spLocks noChangeArrowheads="1"/>
          </p:cNvSpPr>
          <p:nvPr userDrawn="1"/>
        </p:nvSpPr>
        <p:spPr bwMode="auto">
          <a:xfrm>
            <a:off x="580294" y="989013"/>
            <a:ext cx="11031415" cy="55562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bg1"/>
              </a:gs>
            </a:gsLst>
            <a:lin ang="0" scaled="1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000000"/>
              </a:solidFill>
            </a:endParaRPr>
          </a:p>
        </p:txBody>
      </p:sp>
      <p:graphicFrame>
        <p:nvGraphicFramePr>
          <p:cNvPr id="8" name="Объект 6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79968" y="1509714"/>
            <a:ext cx="11032068" cy="4613275"/>
          </a:xfrm>
        </p:spPr>
        <p:txBody>
          <a:bodyPr/>
          <a:lstStyle>
            <a:lvl3pPr>
              <a:buFont typeface="Trebuchet MS" pitchFamily="34" charset="0"/>
              <a:buChar char="—"/>
              <a:defRPr/>
            </a:lvl3pPr>
            <a:lvl4pPr>
              <a:buFont typeface="Trebuchet MS" pitchFamily="34" charset="0"/>
              <a:buChar char="—"/>
              <a:defRPr/>
            </a:lvl4pPr>
            <a:lvl5pPr>
              <a:buFont typeface="Trebuchet MS" pitchFamily="34" charset="0"/>
              <a:buChar char="—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2320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Box 12"/>
          <p:cNvSpPr txBox="1">
            <a:spLocks noChangeArrowheads="1"/>
          </p:cNvSpPr>
          <p:nvPr/>
        </p:nvSpPr>
        <p:spPr bwMode="auto">
          <a:xfrm>
            <a:off x="11426092" y="6610351"/>
            <a:ext cx="234462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r" defTabSz="889000" fontAlgn="base">
              <a:spcBef>
                <a:spcPct val="0"/>
              </a:spcBef>
              <a:spcAft>
                <a:spcPct val="0"/>
              </a:spcAft>
              <a:defRPr/>
            </a:pPr>
            <a:fld id="{5B3DD507-524A-490A-B011-EBFC0AC07A59}" type="slidenum">
              <a:rPr lang="en-GB" sz="900">
                <a:solidFill>
                  <a:srgbClr val="000000"/>
                </a:solidFill>
              </a:rPr>
              <a:pPr algn="r" defTabSz="8890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900">
              <a:solidFill>
                <a:srgbClr val="000000"/>
              </a:solidFill>
            </a:endParaRPr>
          </a:p>
        </p:txBody>
      </p:sp>
      <p:sp>
        <p:nvSpPr>
          <p:cNvPr id="5" name="Rectangle 122"/>
          <p:cNvSpPr>
            <a:spLocks noChangeArrowheads="1"/>
          </p:cNvSpPr>
          <p:nvPr userDrawn="1"/>
        </p:nvSpPr>
        <p:spPr bwMode="auto">
          <a:xfrm>
            <a:off x="580294" y="989013"/>
            <a:ext cx="11031415" cy="55562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bg1"/>
              </a:gs>
            </a:gsLst>
            <a:lin ang="0" scaled="1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000000"/>
              </a:solidFill>
            </a:endParaRPr>
          </a:p>
        </p:txBody>
      </p:sp>
      <p:graphicFrame>
        <p:nvGraphicFramePr>
          <p:cNvPr id="6" name="Объект 6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54054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Box 12"/>
          <p:cNvSpPr txBox="1">
            <a:spLocks noChangeArrowheads="1"/>
          </p:cNvSpPr>
          <p:nvPr/>
        </p:nvSpPr>
        <p:spPr bwMode="auto">
          <a:xfrm>
            <a:off x="11426092" y="6610351"/>
            <a:ext cx="234462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r" defTabSz="889000" fontAlgn="base">
              <a:spcBef>
                <a:spcPct val="0"/>
              </a:spcBef>
              <a:spcAft>
                <a:spcPct val="0"/>
              </a:spcAft>
              <a:defRPr/>
            </a:pPr>
            <a:fld id="{B3F97EAF-6DD6-46BC-81AA-E623E2FC683B}" type="slidenum">
              <a:rPr lang="en-GB" sz="900">
                <a:solidFill>
                  <a:srgbClr val="000000"/>
                </a:solidFill>
              </a:rPr>
              <a:pPr algn="r" defTabSz="8890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900">
              <a:solidFill>
                <a:srgbClr val="000000"/>
              </a:solidFill>
            </a:endParaRPr>
          </a:p>
        </p:txBody>
      </p:sp>
      <p:sp>
        <p:nvSpPr>
          <p:cNvPr id="4" name="Rectangle 122"/>
          <p:cNvSpPr>
            <a:spLocks noChangeArrowheads="1"/>
          </p:cNvSpPr>
          <p:nvPr userDrawn="1"/>
        </p:nvSpPr>
        <p:spPr bwMode="auto">
          <a:xfrm>
            <a:off x="580294" y="989013"/>
            <a:ext cx="11031415" cy="55562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bg1"/>
              </a:gs>
            </a:gsLst>
            <a:lin ang="0" scaled="1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000000"/>
              </a:solidFill>
            </a:endParaRPr>
          </a:p>
        </p:txBody>
      </p:sp>
      <p:graphicFrame>
        <p:nvGraphicFramePr>
          <p:cNvPr id="5" name="Объект 6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1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066889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Box 12"/>
          <p:cNvSpPr txBox="1">
            <a:spLocks noChangeArrowheads="1"/>
          </p:cNvSpPr>
          <p:nvPr/>
        </p:nvSpPr>
        <p:spPr bwMode="auto">
          <a:xfrm>
            <a:off x="11426092" y="6610351"/>
            <a:ext cx="234462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r" defTabSz="889000" fontAlgn="base">
              <a:spcBef>
                <a:spcPct val="0"/>
              </a:spcBef>
              <a:spcAft>
                <a:spcPct val="0"/>
              </a:spcAft>
              <a:defRPr/>
            </a:pPr>
            <a:fld id="{612C7F2D-C329-486C-B242-C7B6FF807937}" type="slidenum">
              <a:rPr lang="en-GB" sz="900">
                <a:solidFill>
                  <a:srgbClr val="000000"/>
                </a:solidFill>
              </a:rPr>
              <a:pPr algn="r" defTabSz="8890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900">
              <a:solidFill>
                <a:srgbClr val="000000"/>
              </a:solidFill>
            </a:endParaRPr>
          </a:p>
        </p:txBody>
      </p:sp>
      <p:sp>
        <p:nvSpPr>
          <p:cNvPr id="6" name="Rectangle 122"/>
          <p:cNvSpPr>
            <a:spLocks noChangeArrowheads="1"/>
          </p:cNvSpPr>
          <p:nvPr userDrawn="1"/>
        </p:nvSpPr>
        <p:spPr bwMode="auto">
          <a:xfrm>
            <a:off x="580294" y="989013"/>
            <a:ext cx="11031415" cy="55562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bg1"/>
              </a:gs>
            </a:gsLst>
            <a:lin ang="0" scaled="1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23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4" name="Уровень текста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7" name="Номер слайда"/>
          <p:cNvSpPr txBox="1">
            <a:spLocks noGrp="1"/>
          </p:cNvSpPr>
          <p:nvPr>
            <p:ph type="sldNum" sz="quarter" idx="10"/>
          </p:nvPr>
        </p:nvSpPr>
        <p:spPr>
          <a:xfrm>
            <a:off x="11050954" y="6384926"/>
            <a:ext cx="302847" cy="307975"/>
          </a:xfrm>
          <a:prstGeom prst="rect">
            <a:avLst/>
          </a:prstGeom>
        </p:spPr>
        <p:txBody>
          <a:bodyPr lIns="107287" tIns="53643" rIns="107287" bIns="53643"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0C6D9C6A-F88C-4260-877B-9D1AAF82AB9D}" type="slidenum">
              <a:rPr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8164755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26642" y="3593894"/>
            <a:ext cx="6670623" cy="2926831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1072866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id-ID" noProof="0" dirty="0"/>
          </a:p>
        </p:txBody>
      </p:sp>
    </p:spTree>
    <p:extLst>
      <p:ext uri="{BB962C8B-B14F-4D97-AF65-F5344CB8AC3E}">
        <p14:creationId xmlns:p14="http://schemas.microsoft.com/office/powerpoint/2010/main" val="13379429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67AC2-5C1C-41D3-ABEA-FA100905BA18}" type="datetimeFigureOut">
              <a:rPr lang="ru-RU" smtClean="0"/>
              <a:t>21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6BA7B-29DF-41B2-A5B9-13C5688F3BC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00412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8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" y="4"/>
            <a:ext cx="8589362" cy="4272197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1072866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id-ID" noProof="0" dirty="0"/>
          </a:p>
        </p:txBody>
      </p:sp>
      <p:sp>
        <p:nvSpPr>
          <p:cNvPr id="6" name="Picture Placeholder 8">
            <a:extLst>
              <a:ext uri="{FF2B5EF4-FFF2-40B4-BE49-F238E27FC236}"/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589365" y="4272197"/>
            <a:ext cx="3602636" cy="2585804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marL="0" marR="0" indent="0" algn="ctr" defTabSz="1072866" rtl="0" eaLnBrk="1" fontAlgn="auto" latinLnBrk="0" hangingPunct="1">
              <a:lnSpc>
                <a:spcPct val="90000"/>
              </a:lnSpc>
              <a:spcBef>
                <a:spcPts val="117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id-ID" noProof="0" dirty="0"/>
          </a:p>
        </p:txBody>
      </p:sp>
    </p:spTree>
    <p:extLst>
      <p:ext uri="{BB962C8B-B14F-4D97-AF65-F5344CB8AC3E}">
        <p14:creationId xmlns:p14="http://schemas.microsoft.com/office/powerpoint/2010/main" val="27209000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67AC2-5C1C-41D3-ABEA-FA100905BA18}" type="datetimeFigureOut">
              <a:rPr lang="ru-RU" smtClean="0"/>
              <a:t>21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6BA7B-29DF-41B2-A5B9-13C5688F3BC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65334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67AC2-5C1C-41D3-ABEA-FA100905BA18}" type="datetimeFigureOut">
              <a:rPr lang="ru-RU" smtClean="0"/>
              <a:t>21.10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6BA7B-29DF-41B2-A5B9-13C5688F3BC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05126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67AC2-5C1C-41D3-ABEA-FA100905BA18}" type="datetimeFigureOut">
              <a:rPr lang="ru-RU" smtClean="0"/>
              <a:t>21.10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6BA7B-29DF-41B2-A5B9-13C5688F3BC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57903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67AC2-5C1C-41D3-ABEA-FA100905BA18}" type="datetimeFigureOut">
              <a:rPr lang="ru-RU" smtClean="0"/>
              <a:t>21.10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6BA7B-29DF-41B2-A5B9-13C5688F3BC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14847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67AC2-5C1C-41D3-ABEA-FA100905BA18}" type="datetimeFigureOut">
              <a:rPr lang="ru-RU" smtClean="0"/>
              <a:t>21.10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6BA7B-29DF-41B2-A5B9-13C5688F3BC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02770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67AC2-5C1C-41D3-ABEA-FA100905BA18}" type="datetimeFigureOut">
              <a:rPr lang="ru-RU" smtClean="0"/>
              <a:t>21.10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6BA7B-29DF-41B2-A5B9-13C5688F3BC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66906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67AC2-5C1C-41D3-ABEA-FA100905BA18}" type="datetimeFigureOut">
              <a:rPr lang="ru-RU" smtClean="0"/>
              <a:t>21.10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6BA7B-29DF-41B2-A5B9-13C5688F3BC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19940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18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17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D67AC2-5C1C-41D3-ABEA-FA100905BA18}" type="datetimeFigureOut">
              <a:rPr lang="ru-RU" smtClean="0"/>
              <a:t>21.10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16BA7B-29DF-41B2-A5B9-13C5688F3BC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0077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1" r:id="rId12"/>
    <p:sldLayoutId id="214748367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9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0" y="0"/>
          <a:ext cx="19538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0294" y="163513"/>
            <a:ext cx="11031415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Slide title</a:t>
            </a:r>
          </a:p>
        </p:txBody>
      </p:sp>
      <p:sp>
        <p:nvSpPr>
          <p:cNvPr id="1029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0294" y="1509714"/>
            <a:ext cx="11031415" cy="461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Body text</a:t>
            </a:r>
          </a:p>
          <a:p>
            <a:pPr lvl="1"/>
            <a:r>
              <a:rPr lang="en-GB" smtClean="0"/>
              <a:t>First level</a:t>
            </a:r>
          </a:p>
          <a:p>
            <a:pPr lvl="2"/>
            <a:r>
              <a:rPr lang="en-GB" smtClean="0"/>
              <a:t>Second level</a:t>
            </a:r>
          </a:p>
          <a:p>
            <a:pPr lvl="3"/>
            <a:r>
              <a:rPr lang="en-GB" smtClean="0"/>
              <a:t>Third level</a:t>
            </a:r>
          </a:p>
          <a:p>
            <a:pPr lvl="4"/>
            <a:r>
              <a:rPr lang="en-GB" smtClean="0"/>
              <a:t>Quotation level</a:t>
            </a:r>
          </a:p>
        </p:txBody>
      </p:sp>
      <p:sp>
        <p:nvSpPr>
          <p:cNvPr id="2" name="Text Box 12"/>
          <p:cNvSpPr txBox="1">
            <a:spLocks noChangeArrowheads="1"/>
          </p:cNvSpPr>
          <p:nvPr/>
        </p:nvSpPr>
        <p:spPr bwMode="auto">
          <a:xfrm>
            <a:off x="11426092" y="6610351"/>
            <a:ext cx="234462" cy="131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r" defTabSz="889000" fontAlgn="base">
              <a:spcBef>
                <a:spcPct val="0"/>
              </a:spcBef>
              <a:spcAft>
                <a:spcPct val="0"/>
              </a:spcAft>
              <a:defRPr/>
            </a:pPr>
            <a:fld id="{265C36D6-1A91-43C7-AE38-E7DF4C0A0FC4}" type="slidenum">
              <a:rPr lang="en-GB" sz="900">
                <a:solidFill>
                  <a:srgbClr val="000000"/>
                </a:solidFill>
              </a:rPr>
              <a:pPr algn="r" defTabSz="8890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900">
              <a:solidFill>
                <a:srgbClr val="000000"/>
              </a:solidFill>
            </a:endParaRPr>
          </a:p>
        </p:txBody>
      </p:sp>
      <p:sp>
        <p:nvSpPr>
          <p:cNvPr id="1030" name="Rectangle 122"/>
          <p:cNvSpPr>
            <a:spLocks noChangeArrowheads="1"/>
          </p:cNvSpPr>
          <p:nvPr userDrawn="1"/>
        </p:nvSpPr>
        <p:spPr bwMode="auto">
          <a:xfrm>
            <a:off x="580294" y="989013"/>
            <a:ext cx="11031415" cy="55562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bg1"/>
              </a:gs>
            </a:gsLst>
            <a:lin ang="0" scaled="1"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491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</p:sldLayoutIdLst>
  <p:txStyles>
    <p:titleStyle>
      <a:lvl1pPr algn="l" defTabSz="8890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45782"/>
          </a:solidFill>
          <a:latin typeface="+mj-lt"/>
          <a:ea typeface="Tahoma" pitchFamily="34" charset="0"/>
          <a:cs typeface="Tahoma" pitchFamily="34" charset="0"/>
        </a:defRPr>
      </a:lvl1pPr>
      <a:lvl2pPr algn="l" defTabSz="8890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45782"/>
          </a:solidFill>
          <a:latin typeface="Arial" charset="0"/>
          <a:cs typeface="Tahoma" pitchFamily="34" charset="0"/>
        </a:defRPr>
      </a:lvl2pPr>
      <a:lvl3pPr algn="l" defTabSz="8890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45782"/>
          </a:solidFill>
          <a:latin typeface="Arial" charset="0"/>
          <a:cs typeface="Tahoma" pitchFamily="34" charset="0"/>
        </a:defRPr>
      </a:lvl3pPr>
      <a:lvl4pPr algn="l" defTabSz="8890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45782"/>
          </a:solidFill>
          <a:latin typeface="Arial" charset="0"/>
          <a:cs typeface="Tahoma" pitchFamily="34" charset="0"/>
        </a:defRPr>
      </a:lvl4pPr>
      <a:lvl5pPr algn="l" defTabSz="8890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45782"/>
          </a:solidFill>
          <a:latin typeface="Arial" charset="0"/>
          <a:cs typeface="Tahoma" pitchFamily="34" charset="0"/>
        </a:defRPr>
      </a:lvl5pPr>
      <a:lvl6pPr marL="4572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defTabSz="889000" rtl="0" eaLnBrk="0" fontAlgn="base" hangingPunct="0">
        <a:spcBef>
          <a:spcPct val="20000"/>
        </a:spcBef>
        <a:spcAft>
          <a:spcPct val="0"/>
        </a:spcAft>
        <a:buClr>
          <a:srgbClr val="595959"/>
        </a:buClr>
        <a:defRPr sz="1600" b="1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1pPr>
      <a:lvl2pPr marL="444500" indent="-222250" algn="l" defTabSz="889000" rtl="0" eaLnBrk="0" fontAlgn="base" hangingPunct="0">
        <a:spcBef>
          <a:spcPct val="20000"/>
        </a:spcBef>
        <a:spcAft>
          <a:spcPct val="0"/>
        </a:spcAft>
        <a:buClr>
          <a:srgbClr val="595959"/>
        </a:buClr>
        <a:buChar char="•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2pPr>
      <a:lvl3pPr marL="889000" indent="-222250" algn="l" defTabSz="889000" rtl="0" eaLnBrk="0" fontAlgn="base" hangingPunct="0">
        <a:spcBef>
          <a:spcPct val="20000"/>
        </a:spcBef>
        <a:spcAft>
          <a:spcPct val="0"/>
        </a:spcAft>
        <a:buClr>
          <a:srgbClr val="595959"/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3pPr>
      <a:lvl4pPr marL="1338263" indent="-227013" algn="l" defTabSz="889000" rtl="0" eaLnBrk="0" fontAlgn="base" hangingPunct="0">
        <a:spcBef>
          <a:spcPct val="20000"/>
        </a:spcBef>
        <a:spcAft>
          <a:spcPct val="0"/>
        </a:spcAft>
        <a:buClr>
          <a:srgbClr val="595959"/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4pPr>
      <a:lvl5pPr marL="1998663" indent="-220663" algn="l" defTabSz="889000" rtl="0" eaLnBrk="0" fontAlgn="base" hangingPunct="0">
        <a:spcBef>
          <a:spcPct val="20000"/>
        </a:spcBef>
        <a:spcAft>
          <a:spcPct val="0"/>
        </a:spcAft>
        <a:buClr>
          <a:srgbClr val="595959"/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5pPr>
      <a:lvl6pPr marL="24558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130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3702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274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bmp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image" Target="../media/image25.jpe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8.pn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3">
            <a:extLst>
              <a:ext uri="{FF2B5EF4-FFF2-40B4-BE49-F238E27FC236}"/>
            </a:extLst>
          </p:cNvPr>
          <p:cNvSpPr/>
          <p:nvPr/>
        </p:nvSpPr>
        <p:spPr>
          <a:xfrm flipH="1">
            <a:off x="-21492" y="3175"/>
            <a:ext cx="6117491" cy="6915150"/>
          </a:xfrm>
          <a:prstGeom prst="rect">
            <a:avLst/>
          </a:prstGeom>
          <a:solidFill>
            <a:schemeClr val="bg2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id-ID" sz="12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122" name="Название 1"/>
          <p:cNvSpPr>
            <a:spLocks noGrp="1"/>
          </p:cNvSpPr>
          <p:nvPr>
            <p:ph type="ctrTitle"/>
          </p:nvPr>
        </p:nvSpPr>
        <p:spPr>
          <a:xfrm>
            <a:off x="7263102" y="5945299"/>
            <a:ext cx="3695135" cy="521710"/>
          </a:xfrm>
        </p:spPr>
        <p:txBody>
          <a:bodyPr>
            <a:normAutofit fontScale="90000"/>
          </a:bodyPr>
          <a:lstStyle/>
          <a:p>
            <a:r>
              <a:rPr lang="ru-RU" altLang="ru-RU" sz="2800" dirty="0" smtClean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altLang="ru-RU" sz="2800" dirty="0" smtClean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altLang="ru-RU" sz="2800" dirty="0" smtClean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ОО </a:t>
            </a:r>
            <a:r>
              <a:rPr kumimoji="0" lang="ru-RU" altLang="ru-RU" sz="2800" dirty="0" smtClean="0">
                <a:solidFill>
                  <a:schemeClr val="bg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4Портфолио»</a:t>
            </a: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9969" y="207514"/>
            <a:ext cx="3335029" cy="12923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23" name="Прямоугольник 2"/>
          <p:cNvSpPr>
            <a:spLocks noChangeArrowheads="1"/>
          </p:cNvSpPr>
          <p:nvPr/>
        </p:nvSpPr>
        <p:spPr bwMode="auto">
          <a:xfrm>
            <a:off x="370710" y="207514"/>
            <a:ext cx="5333085" cy="2923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kumimoji="0" lang="ru-RU" altLang="ru-RU" sz="6400" dirty="0" smtClean="0">
                <a:solidFill>
                  <a:schemeClr val="bg2">
                    <a:lumMod val="50000"/>
                  </a:schemeClr>
                </a:solidFill>
                <a:latin typeface="+mj-lt"/>
                <a:cs typeface="Calibri" panose="020F0502020204030204" pitchFamily="34" charset="0"/>
              </a:rPr>
              <a:t>4</a:t>
            </a:r>
            <a:r>
              <a:rPr kumimoji="0" lang="en-US" altLang="ru-RU" sz="6400" dirty="0" smtClean="0">
                <a:solidFill>
                  <a:schemeClr val="bg2">
                    <a:lumMod val="50000"/>
                  </a:schemeClr>
                </a:solidFill>
                <a:latin typeface="+mj-lt"/>
                <a:cs typeface="Calibri" panose="020F0502020204030204" pitchFamily="34" charset="0"/>
              </a:rPr>
              <a:t>portfolio.ru</a:t>
            </a:r>
            <a:endParaRPr kumimoji="0" lang="ru-RU" altLang="ru-RU" sz="6400" dirty="0" smtClean="0">
              <a:solidFill>
                <a:schemeClr val="bg2">
                  <a:lumMod val="50000"/>
                </a:schemeClr>
              </a:solidFill>
              <a:latin typeface="+mj-lt"/>
              <a:cs typeface="Calibri" panose="020F0502020204030204" pitchFamily="34" charset="0"/>
            </a:endParaRPr>
          </a:p>
          <a:p>
            <a:pPr>
              <a:spcBef>
                <a:spcPct val="0"/>
              </a:spcBef>
              <a:buFontTx/>
              <a:buNone/>
            </a:pPr>
            <a:r>
              <a:rPr kumimoji="0" lang="ru-RU" altLang="ru-RU" sz="4000" dirty="0" smtClean="0">
                <a:solidFill>
                  <a:schemeClr val="bg2">
                    <a:lumMod val="50000"/>
                  </a:schemeClr>
                </a:solidFill>
                <a:latin typeface="+mj-lt"/>
                <a:cs typeface="Calibri" panose="020F0502020204030204" pitchFamily="34" charset="0"/>
              </a:rPr>
              <a:t>создание </a:t>
            </a:r>
            <a:r>
              <a:rPr kumimoji="0" lang="ru-RU" altLang="ru-RU" sz="4000" dirty="0">
                <a:solidFill>
                  <a:schemeClr val="bg2">
                    <a:lumMod val="50000"/>
                  </a:schemeClr>
                </a:solidFill>
                <a:latin typeface="+mj-lt"/>
                <a:cs typeface="Calibri" panose="020F0502020204030204" pitchFamily="34" charset="0"/>
              </a:rPr>
              <a:t>веб-портфолио для учебы и поиска работы </a:t>
            </a:r>
            <a:endParaRPr kumimoji="0" lang="en-US" altLang="ru-RU" sz="4000" dirty="0" smtClean="0">
              <a:solidFill>
                <a:schemeClr val="bg2">
                  <a:lumMod val="50000"/>
                </a:schemeClr>
              </a:solidFill>
              <a:latin typeface="+mj-lt"/>
              <a:cs typeface="Calibri" panose="020F0502020204030204" pitchFamily="34" charset="0"/>
            </a:endParaRPr>
          </a:p>
        </p:txBody>
      </p:sp>
      <p:pic>
        <p:nvPicPr>
          <p:cNvPr id="7" name="Shape 1701">
            <a:extLst>
              <a:ext uri="{FF2B5EF4-FFF2-40B4-BE49-F238E27FC236}">
                <a16:creationId xmlns="" xmlns:a16="http://schemas.microsoft.com/office/drawing/2014/main" id="{FB58FB4D-F042-4BB9-B7BE-6CDD74234ACC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383866" y="1499822"/>
            <a:ext cx="5666853" cy="5583047"/>
          </a:xfrm>
          <a:prstGeom prst="rect">
            <a:avLst/>
          </a:prstGeom>
          <a:noFill/>
          <a:ln>
            <a:noFill/>
          </a:ln>
          <a:effectLst>
            <a:outerShdw blurRad="304800" dist="279400" dir="2700000" algn="tl" rotWithShape="0">
              <a:prstClr val="black">
                <a:alpha val="18000"/>
              </a:prst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3061" y="1896971"/>
            <a:ext cx="4808459" cy="2510623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412733" y="3807429"/>
            <a:ext cx="5512579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К порталу подключено более 200 вузов, </a:t>
            </a:r>
            <a:endParaRPr lang="ru-RU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spcAft>
                <a:spcPts val="600"/>
              </a:spcAft>
              <a:defRPr/>
            </a:pP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Зарегистрировано более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130 000 пользователей</a:t>
            </a:r>
          </a:p>
          <a:p>
            <a:pPr>
              <a:spcAft>
                <a:spcPts val="600"/>
              </a:spcAft>
              <a:defRPr/>
            </a:pP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Команд проекта прошла обучение во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ФРИИ, </a:t>
            </a:r>
            <a:r>
              <a:rPr lang="ru-RU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Сколково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Остров 10-22, </a:t>
            </a:r>
            <a:endParaRPr lang="ru-RU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>
              <a:spcAft>
                <a:spcPts val="600"/>
              </a:spcAft>
              <a:defRPr/>
            </a:pP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Проект неоднократно принимал участие в Московском международном салоне образования.</a:t>
            </a:r>
          </a:p>
          <a:p>
            <a:pPr>
              <a:spcAft>
                <a:spcPts val="600"/>
              </a:spcAft>
              <a:defRPr/>
            </a:pP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 ходе выполнения Гранта РГНФ разработано методическое обеспечение работы с порталом.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4442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629"/>
    </mc:Choice>
    <mc:Fallback xmlns="">
      <p:transition spd="slow" advTm="5629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480484" y="1206501"/>
            <a:ext cx="11101915" cy="5295899"/>
          </a:xfrm>
        </p:spPr>
        <p:txBody>
          <a:bodyPr>
            <a:normAutofit fontScale="62500" lnSpcReduction="20000"/>
          </a:bodyPr>
          <a:lstStyle/>
          <a:p>
            <a:pPr marL="0" indent="0">
              <a:lnSpc>
                <a:spcPct val="120000"/>
              </a:lnSpc>
              <a:buNone/>
              <a:defRPr/>
            </a:pPr>
            <a:r>
              <a:rPr lang="ru-RU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Наша </a:t>
            </a:r>
            <a:r>
              <a:rPr lang="ru-RU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Платформа 4portfolio.ru </a:t>
            </a:r>
            <a:r>
              <a:rPr lang="ru-RU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решает </a:t>
            </a:r>
            <a:r>
              <a:rPr lang="ru-RU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проблему </a:t>
            </a:r>
            <a:r>
              <a:rPr lang="ru-RU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интеграции образования и рынка труда </a:t>
            </a:r>
            <a:r>
              <a:rPr lang="ru-RU" sz="29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поддержку занятости в условиях пандемии.  </a:t>
            </a:r>
          </a:p>
          <a:p>
            <a:pPr marL="0" indent="0">
              <a:lnSpc>
                <a:spcPct val="120000"/>
              </a:lnSpc>
              <a:buNone/>
              <a:defRPr/>
            </a:pPr>
            <a:r>
              <a:rPr lang="ru-RU" b="1" dirty="0">
                <a:solidFill>
                  <a:srgbClr val="A40000"/>
                </a:solidFill>
              </a:rPr>
              <a:t>Объединение в одном информационном пространстве обучаемых, образовательные организации и работодателей для содействия трудоустройству и поддержки занятости молодых специалистов, которые еще не представлены на рынке труда.</a:t>
            </a:r>
            <a:endParaRPr lang="ru-RU" b="1" dirty="0" smtClean="0">
              <a:solidFill>
                <a:srgbClr val="A40000"/>
              </a:solidFill>
            </a:endParaRPr>
          </a:p>
          <a:p>
            <a:pPr marL="0" indent="0">
              <a:lnSpc>
                <a:spcPct val="120000"/>
              </a:lnSpc>
              <a:buNone/>
              <a:defRPr/>
            </a:pPr>
            <a:r>
              <a:rPr lang="ru-RU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К </a:t>
            </a:r>
            <a:r>
              <a:rPr lang="ru-RU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платформе подключаются отдельные обучаемые, </a:t>
            </a:r>
            <a:r>
              <a:rPr lang="ru-RU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образовательные организации и работодатели. </a:t>
            </a:r>
          </a:p>
          <a:p>
            <a:pPr>
              <a:lnSpc>
                <a:spcPct val="120000"/>
              </a:lnSpc>
              <a:buFont typeface="Arial" charset="0"/>
              <a:buChar char="•"/>
              <a:defRPr/>
            </a:pPr>
            <a:r>
              <a:rPr lang="ru-RU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Первые </a:t>
            </a:r>
            <a:r>
              <a:rPr 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наглядно представляют </a:t>
            </a:r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в веб-портфолио свои </a:t>
            </a:r>
            <a:r>
              <a:rPr 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успехи и достижения в формате текста, фото, видео и </a:t>
            </a:r>
            <a:r>
              <a:rPr lang="ru-RU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инфографики</a:t>
            </a:r>
            <a:r>
              <a:rPr 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. Студентам это помогает </a:t>
            </a:r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презентовать </a:t>
            </a:r>
            <a:r>
              <a:rPr 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работодателям достоверные, подтверждённые преподавателями достижения и компетенции в целях  эффективного трудоустройства.  </a:t>
            </a:r>
            <a:endParaRPr lang="ru-RU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>
              <a:lnSpc>
                <a:spcPct val="120000"/>
              </a:lnSpc>
              <a:buFont typeface="Arial" charset="0"/>
              <a:buChar char="•"/>
              <a:defRPr/>
            </a:pPr>
            <a:r>
              <a:rPr lang="ru-RU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Вторые </a:t>
            </a:r>
            <a:r>
              <a:rPr 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получают готовое решение в течение одного дня, что существенно экономит время и деньги на запуск и эксплуатацию системы, обеспечивает управляемость процесса ведения портфолио </a:t>
            </a:r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обучаемых</a:t>
            </a:r>
            <a:r>
              <a:rPr 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методическую и техническую поддержку</a:t>
            </a:r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.</a:t>
            </a:r>
          </a:p>
          <a:p>
            <a:pPr>
              <a:lnSpc>
                <a:spcPct val="120000"/>
              </a:lnSpc>
              <a:buFont typeface="Arial" charset="0"/>
              <a:buChar char="•"/>
              <a:defRPr/>
            </a:pPr>
            <a:r>
              <a:rPr lang="ru-RU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Работодатели  </a:t>
            </a:r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выбирают подходящих стажеров</a:t>
            </a:r>
            <a:r>
              <a:rPr 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практикантов и </a:t>
            </a:r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работников  среди обучаемых </a:t>
            </a:r>
            <a:r>
              <a:rPr 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и </a:t>
            </a:r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выпускников с помощью наглядно представленных и подтверждённых </a:t>
            </a:r>
            <a:r>
              <a:rPr 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достижений </a:t>
            </a:r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US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HardSkills</a:t>
            </a:r>
            <a:r>
              <a:rPr lang="ru-RU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результатов 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диагностики </a:t>
            </a:r>
            <a:r>
              <a:rPr lang="ru-RU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SoftSkills</a:t>
            </a:r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, экономят время и деньги на релевантный поиск новых сотрудников. </a:t>
            </a:r>
            <a:endParaRPr kumimoji="0" lang="ru-RU" altLang="ru-RU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>
              <a:buFont typeface="Arial" charset="0"/>
              <a:buChar char="•"/>
              <a:defRPr/>
            </a:pPr>
            <a:endParaRPr lang="ru-RU" altLang="ru-RU" b="1" dirty="0" smtClean="0">
              <a:solidFill>
                <a:srgbClr val="FFC000"/>
              </a:solidFill>
            </a:endParaRPr>
          </a:p>
          <a:p>
            <a:pPr marL="0" indent="0">
              <a:buNone/>
              <a:defRPr/>
            </a:pPr>
            <a:endParaRPr lang="ru-RU" b="1" dirty="0" smtClean="0">
              <a:solidFill>
                <a:srgbClr val="FFC000"/>
              </a:solidFill>
            </a:endParaRPr>
          </a:p>
          <a:p>
            <a:pPr marL="0" indent="0">
              <a:buNone/>
              <a:defRPr/>
            </a:pPr>
            <a:endParaRPr lang="ru-RU" b="1" dirty="0">
              <a:solidFill>
                <a:srgbClr val="FFC000"/>
              </a:solidFill>
            </a:endParaRPr>
          </a:p>
        </p:txBody>
      </p:sp>
      <p:sp>
        <p:nvSpPr>
          <p:cNvPr id="11267" name="Заголовок 2"/>
          <p:cNvSpPr>
            <a:spLocks noGrp="1"/>
          </p:cNvSpPr>
          <p:nvPr>
            <p:ph type="title"/>
          </p:nvPr>
        </p:nvSpPr>
        <p:spPr>
          <a:xfrm>
            <a:off x="1443566" y="385234"/>
            <a:ext cx="9628717" cy="626533"/>
          </a:xfrm>
        </p:spPr>
        <p:txBody>
          <a:bodyPr>
            <a:normAutofit/>
          </a:bodyPr>
          <a:lstStyle/>
          <a:p>
            <a:r>
              <a:rPr lang="ru-RU" altLang="ru-RU" sz="3000" b="1" dirty="0">
                <a:solidFill>
                  <a:srgbClr val="A40000"/>
                </a:solidFill>
              </a:rPr>
              <a:t>В чем суть </a:t>
            </a:r>
            <a:r>
              <a:rPr lang="ru-RU" altLang="ru-RU" sz="3000" b="1" dirty="0" smtClean="0">
                <a:solidFill>
                  <a:srgbClr val="A40000"/>
                </a:solidFill>
              </a:rPr>
              <a:t>проекта</a:t>
            </a:r>
            <a:endParaRPr lang="ru-RU" altLang="ru-RU" sz="3000" b="1" dirty="0">
              <a:solidFill>
                <a:srgbClr val="A40000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0935" y="174624"/>
            <a:ext cx="2292096" cy="9256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8780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91"/>
          <p:cNvSpPr/>
          <p:nvPr/>
        </p:nvSpPr>
        <p:spPr>
          <a:xfrm rot="5400000">
            <a:off x="3541688" y="991402"/>
            <a:ext cx="4938081" cy="4991485"/>
          </a:xfrm>
          <a:prstGeom prst="rect">
            <a:avLst/>
          </a:prstGeom>
          <a:gradFill>
            <a:gsLst>
              <a:gs pos="0">
                <a:schemeClr val="bg1"/>
              </a:gs>
              <a:gs pos="5700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21594000" scaled="0"/>
          </a:gra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" name="Rectangle 91"/>
          <p:cNvSpPr/>
          <p:nvPr/>
        </p:nvSpPr>
        <p:spPr>
          <a:xfrm rot="5400000">
            <a:off x="8288307" y="2378602"/>
            <a:ext cx="5173603" cy="2527878"/>
          </a:xfrm>
          <a:prstGeom prst="rect">
            <a:avLst/>
          </a:prstGeom>
          <a:gradFill>
            <a:gsLst>
              <a:gs pos="0">
                <a:schemeClr val="bg1"/>
              </a:gs>
              <a:gs pos="5700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21594000" scaled="0"/>
          </a:gra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tangle 91"/>
          <p:cNvSpPr/>
          <p:nvPr/>
        </p:nvSpPr>
        <p:spPr>
          <a:xfrm rot="5400000">
            <a:off x="-1281108" y="2378602"/>
            <a:ext cx="5291035" cy="2527878"/>
          </a:xfrm>
          <a:prstGeom prst="rect">
            <a:avLst/>
          </a:prstGeom>
          <a:gradFill>
            <a:gsLst>
              <a:gs pos="0">
                <a:schemeClr val="bg1"/>
              </a:gs>
              <a:gs pos="57000">
                <a:schemeClr val="bg1"/>
              </a:gs>
              <a:gs pos="100000">
                <a:schemeClr val="bg1">
                  <a:lumMod val="75000"/>
                </a:schemeClr>
              </a:gs>
            </a:gsLst>
            <a:lin ang="21594000" scaled="0"/>
          </a:gra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6615" y="96678"/>
            <a:ext cx="11376419" cy="741380"/>
          </a:xfrm>
        </p:spPr>
        <p:txBody>
          <a:bodyPr>
            <a:normAutofit/>
          </a:bodyPr>
          <a:lstStyle/>
          <a:p>
            <a:pPr algn="ctr"/>
            <a:r>
              <a:rPr lang="ru-RU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Интеграция </a:t>
            </a:r>
            <a:r>
              <a:rPr lang="ru-RU" sz="28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образования и рынка </a:t>
            </a:r>
            <a:r>
              <a:rPr lang="ru-RU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труда</a:t>
            </a:r>
            <a:endParaRPr lang="ru-RU" sz="4800" dirty="0"/>
          </a:p>
        </p:txBody>
      </p:sp>
      <p:sp>
        <p:nvSpPr>
          <p:cNvPr id="5" name="Rectangle 92"/>
          <p:cNvSpPr/>
          <p:nvPr/>
        </p:nvSpPr>
        <p:spPr>
          <a:xfrm>
            <a:off x="9611170" y="2437357"/>
            <a:ext cx="250489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/>
              <a:t>Поиск  работников </a:t>
            </a:r>
            <a:r>
              <a:rPr lang="ru-RU" sz="1200" b="1" dirty="0"/>
              <a:t>среди студентов и выпускников </a:t>
            </a:r>
            <a:endParaRPr lang="en-US" sz="1200" b="1" dirty="0"/>
          </a:p>
        </p:txBody>
      </p:sp>
      <p:sp>
        <p:nvSpPr>
          <p:cNvPr id="7" name="AutoShape 64"/>
          <p:cNvSpPr>
            <a:spLocks noChangeArrowheads="1"/>
          </p:cNvSpPr>
          <p:nvPr/>
        </p:nvSpPr>
        <p:spPr bwMode="gray">
          <a:xfrm>
            <a:off x="9611170" y="2117652"/>
            <a:ext cx="2504894" cy="457200"/>
          </a:xfrm>
          <a:prstGeom prst="roundRect">
            <a:avLst>
              <a:gd name="adj" fmla="val 0"/>
            </a:avLst>
          </a:prstGeom>
          <a:noFill/>
          <a:ln w="381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РАБОТОДАТЕЛИ 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" name="Oval 19"/>
          <p:cNvSpPr>
            <a:spLocks noChangeAspect="1"/>
          </p:cNvSpPr>
          <p:nvPr/>
        </p:nvSpPr>
        <p:spPr>
          <a:xfrm>
            <a:off x="9698021" y="4205707"/>
            <a:ext cx="168707" cy="168707"/>
          </a:xfrm>
          <a:prstGeom prst="ellipse">
            <a:avLst/>
          </a:prstGeom>
          <a:solidFill>
            <a:srgbClr val="A40000"/>
          </a:solidFill>
          <a:ln w="317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6"/>
          <p:cNvSpPr>
            <a:spLocks noChangeAspect="1"/>
          </p:cNvSpPr>
          <p:nvPr/>
        </p:nvSpPr>
        <p:spPr>
          <a:xfrm>
            <a:off x="198679" y="4321120"/>
            <a:ext cx="168707" cy="168707"/>
          </a:xfrm>
          <a:prstGeom prst="ellipse">
            <a:avLst/>
          </a:prstGeom>
          <a:solidFill>
            <a:srgbClr val="00B0F0"/>
          </a:solidFill>
          <a:ln w="317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3" name="Rectangle 99"/>
          <p:cNvSpPr/>
          <p:nvPr/>
        </p:nvSpPr>
        <p:spPr>
          <a:xfrm>
            <a:off x="9934019" y="4116073"/>
            <a:ext cx="221399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Размещение объявлений о вакансиях,  грантах, стажировках и практиках</a:t>
            </a:r>
            <a:endParaRPr lang="en-US" sz="1200" dirty="0"/>
          </a:p>
        </p:txBody>
      </p:sp>
      <p:sp>
        <p:nvSpPr>
          <p:cNvPr id="14" name="Oval 22"/>
          <p:cNvSpPr>
            <a:spLocks noChangeAspect="1"/>
          </p:cNvSpPr>
          <p:nvPr/>
        </p:nvSpPr>
        <p:spPr>
          <a:xfrm>
            <a:off x="6966785" y="3068144"/>
            <a:ext cx="168707" cy="168707"/>
          </a:xfrm>
          <a:prstGeom prst="ellipse">
            <a:avLst/>
          </a:prstGeom>
          <a:solidFill>
            <a:srgbClr val="9954CC"/>
          </a:solidFill>
          <a:ln w="317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9" name="AutoShape 64"/>
          <p:cNvSpPr>
            <a:spLocks noChangeArrowheads="1"/>
          </p:cNvSpPr>
          <p:nvPr/>
        </p:nvSpPr>
        <p:spPr bwMode="gray">
          <a:xfrm>
            <a:off x="4416499" y="2129937"/>
            <a:ext cx="3165987" cy="457200"/>
          </a:xfrm>
          <a:prstGeom prst="roundRect">
            <a:avLst>
              <a:gd name="adj" fmla="val 0"/>
            </a:avLst>
          </a:prstGeom>
          <a:noFill/>
          <a:ln w="381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ОБУЧАЮЩИЕСЯ, ВЫПУСКНИКИ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Oval 96"/>
          <p:cNvSpPr>
            <a:spLocks noChangeAspect="1"/>
          </p:cNvSpPr>
          <p:nvPr/>
        </p:nvSpPr>
        <p:spPr>
          <a:xfrm>
            <a:off x="198679" y="3215103"/>
            <a:ext cx="168707" cy="168707"/>
          </a:xfrm>
          <a:prstGeom prst="ellipse">
            <a:avLst/>
          </a:prstGeom>
          <a:solidFill>
            <a:srgbClr val="00B0F0"/>
          </a:solidFill>
          <a:ln w="317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97"/>
          <p:cNvSpPr/>
          <p:nvPr/>
        </p:nvSpPr>
        <p:spPr>
          <a:xfrm>
            <a:off x="4760560" y="3015163"/>
            <a:ext cx="109350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Ведение веб-портфолио</a:t>
            </a:r>
            <a:endParaRPr lang="en-US" sz="1200" dirty="0"/>
          </a:p>
        </p:txBody>
      </p:sp>
      <p:sp>
        <p:nvSpPr>
          <p:cNvPr id="24" name="Rectangle 98"/>
          <p:cNvSpPr/>
          <p:nvPr/>
        </p:nvSpPr>
        <p:spPr>
          <a:xfrm>
            <a:off x="4896252" y="4012483"/>
            <a:ext cx="33643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Заполнение АНКЕТЫ для поиска работы с подтверждёнными педагогами </a:t>
            </a:r>
            <a:r>
              <a:rPr lang="en-US" sz="1200" dirty="0" err="1" smtClean="0"/>
              <a:t>HardSkills</a:t>
            </a:r>
            <a:r>
              <a:rPr lang="en-US" sz="1200" dirty="0" smtClean="0"/>
              <a:t> </a:t>
            </a:r>
            <a:r>
              <a:rPr lang="ru-RU" sz="1200" dirty="0" smtClean="0"/>
              <a:t>и результатами диагностики </a:t>
            </a:r>
            <a:r>
              <a:rPr lang="en-US" sz="1200" dirty="0" err="1" smtClean="0"/>
              <a:t>SoftSkills</a:t>
            </a:r>
            <a:endParaRPr lang="en-US" sz="1200" dirty="0"/>
          </a:p>
        </p:txBody>
      </p:sp>
      <p:sp>
        <p:nvSpPr>
          <p:cNvPr id="25" name="Rectangle 99"/>
          <p:cNvSpPr/>
          <p:nvPr/>
        </p:nvSpPr>
        <p:spPr>
          <a:xfrm>
            <a:off x="7197753" y="3005499"/>
            <a:ext cx="118276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Диагностика </a:t>
            </a:r>
            <a:r>
              <a:rPr lang="en-US" sz="1200" dirty="0" err="1"/>
              <a:t>SoftSkills</a:t>
            </a:r>
            <a:endParaRPr lang="en-US" sz="1200" dirty="0"/>
          </a:p>
        </p:txBody>
      </p:sp>
      <p:sp>
        <p:nvSpPr>
          <p:cNvPr id="29" name="Rectangle 92"/>
          <p:cNvSpPr/>
          <p:nvPr/>
        </p:nvSpPr>
        <p:spPr>
          <a:xfrm>
            <a:off x="111244" y="2543834"/>
            <a:ext cx="252787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/>
              <a:t>Управляют ведением портфолио обучающихся</a:t>
            </a:r>
            <a:endParaRPr lang="en-US" sz="1200" b="1" dirty="0"/>
          </a:p>
        </p:txBody>
      </p:sp>
      <p:sp>
        <p:nvSpPr>
          <p:cNvPr id="31" name="AutoShape 64"/>
          <p:cNvSpPr>
            <a:spLocks noChangeArrowheads="1"/>
          </p:cNvSpPr>
          <p:nvPr/>
        </p:nvSpPr>
        <p:spPr bwMode="gray">
          <a:xfrm>
            <a:off x="83009" y="2224562"/>
            <a:ext cx="2480542" cy="425589"/>
          </a:xfrm>
          <a:prstGeom prst="roundRect">
            <a:avLst>
              <a:gd name="adj" fmla="val 0"/>
            </a:avLst>
          </a:prstGeom>
          <a:noFill/>
          <a:ln w="3810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ОБРАЗОВАТЕЛЬНЫЕ  ОРГАНИЗАЦИИ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Oval 19"/>
          <p:cNvSpPr>
            <a:spLocks noChangeAspect="1"/>
          </p:cNvSpPr>
          <p:nvPr/>
        </p:nvSpPr>
        <p:spPr>
          <a:xfrm>
            <a:off x="9651298" y="3102213"/>
            <a:ext cx="168707" cy="168707"/>
          </a:xfrm>
          <a:prstGeom prst="ellipse">
            <a:avLst/>
          </a:prstGeom>
          <a:solidFill>
            <a:srgbClr val="A40000"/>
          </a:solidFill>
          <a:ln w="317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96"/>
          <p:cNvSpPr>
            <a:spLocks noChangeAspect="1"/>
          </p:cNvSpPr>
          <p:nvPr/>
        </p:nvSpPr>
        <p:spPr>
          <a:xfrm>
            <a:off x="199590" y="3673956"/>
            <a:ext cx="168707" cy="168707"/>
          </a:xfrm>
          <a:prstGeom prst="ellipse">
            <a:avLst/>
          </a:prstGeom>
          <a:solidFill>
            <a:srgbClr val="00B0F0"/>
          </a:solidFill>
          <a:ln w="317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97"/>
          <p:cNvSpPr/>
          <p:nvPr/>
        </p:nvSpPr>
        <p:spPr>
          <a:xfrm>
            <a:off x="410197" y="3152497"/>
            <a:ext cx="221084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Регистрация обучающихся списком</a:t>
            </a:r>
            <a:endParaRPr lang="en-US" sz="1200" dirty="0"/>
          </a:p>
        </p:txBody>
      </p:sp>
      <p:sp>
        <p:nvSpPr>
          <p:cNvPr id="37" name="Rectangle 99"/>
          <p:cNvSpPr/>
          <p:nvPr/>
        </p:nvSpPr>
        <p:spPr>
          <a:xfrm>
            <a:off x="409181" y="4288482"/>
            <a:ext cx="221815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Анализ диагностики </a:t>
            </a:r>
            <a:r>
              <a:rPr lang="en-US" sz="1200" dirty="0" err="1" smtClean="0"/>
              <a:t>SoftSkills</a:t>
            </a:r>
            <a:endParaRPr lang="en-US" sz="1200" dirty="0"/>
          </a:p>
        </p:txBody>
      </p:sp>
      <p:sp>
        <p:nvSpPr>
          <p:cNvPr id="49" name="Rectangle 92"/>
          <p:cNvSpPr/>
          <p:nvPr/>
        </p:nvSpPr>
        <p:spPr>
          <a:xfrm>
            <a:off x="9856265" y="3022953"/>
            <a:ext cx="225979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Поиск лучших студентов </a:t>
            </a:r>
            <a:r>
              <a:rPr lang="ru-RU" sz="1200" dirty="0"/>
              <a:t>и выпускников по рейтингу </a:t>
            </a:r>
            <a:r>
              <a:rPr lang="en-US" sz="1200" dirty="0" err="1"/>
              <a:t>SoftSkills</a:t>
            </a:r>
            <a:r>
              <a:rPr lang="ru-RU" sz="1200" dirty="0"/>
              <a:t> и </a:t>
            </a:r>
            <a:r>
              <a:rPr lang="en-US" sz="1200" dirty="0" err="1" smtClean="0"/>
              <a:t>HardSkills</a:t>
            </a:r>
            <a:r>
              <a:rPr lang="ru-RU" sz="1200" dirty="0" smtClean="0"/>
              <a:t> для стажировки, практики, грантов, трудоустройства</a:t>
            </a:r>
            <a:endParaRPr lang="en-US" sz="1200" dirty="0"/>
          </a:p>
        </p:txBody>
      </p:sp>
      <p:sp>
        <p:nvSpPr>
          <p:cNvPr id="58" name="Rectangle 92"/>
          <p:cNvSpPr/>
          <p:nvPr/>
        </p:nvSpPr>
        <p:spPr>
          <a:xfrm>
            <a:off x="4896252" y="4867573"/>
            <a:ext cx="324267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Доступ к вакансиям, стажировкам, конкурсам </a:t>
            </a:r>
            <a:r>
              <a:rPr lang="ru-RU" sz="1200" dirty="0"/>
              <a:t>г</a:t>
            </a:r>
            <a:r>
              <a:rPr lang="ru-RU" sz="1200" dirty="0" smtClean="0"/>
              <a:t>рантов</a:t>
            </a:r>
            <a:endParaRPr lang="en-US" sz="1200" dirty="0"/>
          </a:p>
        </p:txBody>
      </p:sp>
      <p:sp>
        <p:nvSpPr>
          <p:cNvPr id="69" name="Rectangle 92"/>
          <p:cNvSpPr/>
          <p:nvPr/>
        </p:nvSpPr>
        <p:spPr>
          <a:xfrm>
            <a:off x="402889" y="5553850"/>
            <a:ext cx="20914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Ориентация на потребности рынка труда</a:t>
            </a:r>
            <a:endParaRPr lang="en-US" sz="1200" dirty="0"/>
          </a:p>
        </p:txBody>
      </p:sp>
      <p:sp>
        <p:nvSpPr>
          <p:cNvPr id="51" name="Rectangle 92"/>
          <p:cNvSpPr/>
          <p:nvPr/>
        </p:nvSpPr>
        <p:spPr>
          <a:xfrm>
            <a:off x="3858767" y="2437358"/>
            <a:ext cx="421453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/>
              <a:t>Презентуют свои успехи и достижения для обучения и трудоустройства</a:t>
            </a:r>
            <a:endParaRPr lang="en-US" sz="1200" b="1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615" y="997024"/>
            <a:ext cx="1373331" cy="1281030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2060" y="1102528"/>
            <a:ext cx="662641" cy="926203"/>
          </a:xfrm>
          <a:prstGeom prst="rect">
            <a:avLst/>
          </a:prstGeom>
        </p:spPr>
      </p:pic>
      <p:pic>
        <p:nvPicPr>
          <p:cNvPr id="54" name="Рисунок 5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0600" y="1326076"/>
            <a:ext cx="638362" cy="892268"/>
          </a:xfrm>
          <a:prstGeom prst="rect">
            <a:avLst/>
          </a:prstGeom>
        </p:spPr>
      </p:pic>
      <p:pic>
        <p:nvPicPr>
          <p:cNvPr id="55" name="Рисунок 5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6791" y="1251162"/>
            <a:ext cx="638362" cy="892268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4893" y="4026958"/>
            <a:ext cx="899152" cy="669057"/>
          </a:xfrm>
          <a:prstGeom prst="rect">
            <a:avLst/>
          </a:prstGeom>
        </p:spPr>
      </p:pic>
      <p:pic>
        <p:nvPicPr>
          <p:cNvPr id="50" name="Рисунок 4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219946" y="1113183"/>
            <a:ext cx="1161768" cy="1030247"/>
          </a:xfrm>
          <a:prstGeom prst="rect">
            <a:avLst/>
          </a:prstGeom>
        </p:spPr>
      </p:pic>
      <p:pic>
        <p:nvPicPr>
          <p:cNvPr id="72" name="Рисунок 7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3739" y="3015163"/>
            <a:ext cx="742827" cy="934339"/>
          </a:xfrm>
          <a:prstGeom prst="rect">
            <a:avLst/>
          </a:prstGeom>
        </p:spPr>
      </p:pic>
      <p:pic>
        <p:nvPicPr>
          <p:cNvPr id="76" name="Рисунок 7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6470" y="3040084"/>
            <a:ext cx="899152" cy="669057"/>
          </a:xfrm>
          <a:prstGeom prst="rect">
            <a:avLst/>
          </a:prstGeom>
        </p:spPr>
      </p:pic>
      <p:sp>
        <p:nvSpPr>
          <p:cNvPr id="62" name="Rectangle 92"/>
          <p:cNvSpPr/>
          <p:nvPr/>
        </p:nvSpPr>
        <p:spPr>
          <a:xfrm>
            <a:off x="409181" y="3614162"/>
            <a:ext cx="210226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Подтверждение педагогами полученных знаний, умений, навыков</a:t>
            </a:r>
            <a:endParaRPr lang="en-US" sz="1200" dirty="0"/>
          </a:p>
        </p:txBody>
      </p:sp>
      <p:sp>
        <p:nvSpPr>
          <p:cNvPr id="84" name="Oval 22"/>
          <p:cNvSpPr>
            <a:spLocks noChangeAspect="1"/>
          </p:cNvSpPr>
          <p:nvPr/>
        </p:nvSpPr>
        <p:spPr>
          <a:xfrm>
            <a:off x="4621071" y="4077833"/>
            <a:ext cx="168707" cy="168707"/>
          </a:xfrm>
          <a:prstGeom prst="ellipse">
            <a:avLst/>
          </a:prstGeom>
          <a:solidFill>
            <a:srgbClr val="9954CC"/>
          </a:solidFill>
          <a:ln w="317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85" name="Oval 22"/>
          <p:cNvSpPr>
            <a:spLocks noChangeAspect="1"/>
          </p:cNvSpPr>
          <p:nvPr/>
        </p:nvSpPr>
        <p:spPr>
          <a:xfrm>
            <a:off x="4590988" y="3077288"/>
            <a:ext cx="168707" cy="168707"/>
          </a:xfrm>
          <a:prstGeom prst="ellipse">
            <a:avLst/>
          </a:prstGeom>
          <a:solidFill>
            <a:srgbClr val="9954CC"/>
          </a:solidFill>
          <a:ln w="317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94" name="Oval 96"/>
          <p:cNvSpPr>
            <a:spLocks noChangeAspect="1"/>
          </p:cNvSpPr>
          <p:nvPr/>
        </p:nvSpPr>
        <p:spPr>
          <a:xfrm>
            <a:off x="194609" y="4690067"/>
            <a:ext cx="168707" cy="168707"/>
          </a:xfrm>
          <a:prstGeom prst="ellipse">
            <a:avLst/>
          </a:prstGeom>
          <a:solidFill>
            <a:srgbClr val="00B0F0"/>
          </a:solidFill>
          <a:ln w="317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95" name="Rectangle 99"/>
          <p:cNvSpPr/>
          <p:nvPr/>
        </p:nvSpPr>
        <p:spPr>
          <a:xfrm>
            <a:off x="415883" y="4604252"/>
            <a:ext cx="22181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Анализ востребованности выпускников</a:t>
            </a:r>
            <a:endParaRPr lang="en-US" sz="1200" dirty="0"/>
          </a:p>
        </p:txBody>
      </p:sp>
      <p:sp>
        <p:nvSpPr>
          <p:cNvPr id="96" name="Rectangle 23"/>
          <p:cNvSpPr/>
          <p:nvPr/>
        </p:nvSpPr>
        <p:spPr>
          <a:xfrm>
            <a:off x="392115" y="5086219"/>
            <a:ext cx="2210845" cy="461665"/>
          </a:xfrm>
          <a:prstGeom prst="rect">
            <a:avLst/>
          </a:prstGeom>
          <a:ln w="28575">
            <a:noFill/>
          </a:ln>
        </p:spPr>
        <p:txBody>
          <a:bodyPr wrap="square">
            <a:spAutoFit/>
          </a:bodyPr>
          <a:lstStyle/>
          <a:p>
            <a:r>
              <a:rPr lang="ru-RU" sz="1200" dirty="0" smtClean="0"/>
              <a:t>Корректировка учебных планов и программ</a:t>
            </a:r>
            <a:endParaRPr lang="ru-RU" sz="1200" dirty="0"/>
          </a:p>
        </p:txBody>
      </p:sp>
      <p:sp>
        <p:nvSpPr>
          <p:cNvPr id="98" name="Oval 96"/>
          <p:cNvSpPr>
            <a:spLocks noChangeAspect="1"/>
          </p:cNvSpPr>
          <p:nvPr/>
        </p:nvSpPr>
        <p:spPr>
          <a:xfrm>
            <a:off x="198679" y="5166680"/>
            <a:ext cx="168707" cy="168707"/>
          </a:xfrm>
          <a:prstGeom prst="ellipse">
            <a:avLst/>
          </a:prstGeom>
          <a:solidFill>
            <a:srgbClr val="00B0F0"/>
          </a:solidFill>
          <a:ln w="317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pic>
        <p:nvPicPr>
          <p:cNvPr id="104" name="Рисунок 10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1679" y="2899023"/>
            <a:ext cx="664738" cy="959937"/>
          </a:xfrm>
          <a:prstGeom prst="rect">
            <a:avLst/>
          </a:prstGeom>
        </p:spPr>
      </p:pic>
      <p:sp>
        <p:nvSpPr>
          <p:cNvPr id="118" name="Oval 22"/>
          <p:cNvSpPr>
            <a:spLocks noChangeAspect="1"/>
          </p:cNvSpPr>
          <p:nvPr/>
        </p:nvSpPr>
        <p:spPr>
          <a:xfrm>
            <a:off x="4621071" y="5026740"/>
            <a:ext cx="168707" cy="168707"/>
          </a:xfrm>
          <a:prstGeom prst="ellipse">
            <a:avLst/>
          </a:prstGeom>
          <a:solidFill>
            <a:srgbClr val="9954CC"/>
          </a:solidFill>
          <a:ln w="317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cxnSp>
        <p:nvCxnSpPr>
          <p:cNvPr id="135" name="Прямая со стрелкой 134"/>
          <p:cNvCxnSpPr/>
          <p:nvPr/>
        </p:nvCxnSpPr>
        <p:spPr>
          <a:xfrm flipH="1">
            <a:off x="9409745" y="3482332"/>
            <a:ext cx="372629" cy="0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Oval 96"/>
          <p:cNvSpPr>
            <a:spLocks noChangeAspect="1"/>
          </p:cNvSpPr>
          <p:nvPr/>
        </p:nvSpPr>
        <p:spPr>
          <a:xfrm>
            <a:off x="194608" y="5590243"/>
            <a:ext cx="168707" cy="168707"/>
          </a:xfrm>
          <a:prstGeom prst="ellipse">
            <a:avLst/>
          </a:prstGeom>
          <a:solidFill>
            <a:srgbClr val="00B0F0"/>
          </a:solidFill>
          <a:ln w="3175"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44" name="Двойная стрелка влево/вправо 143"/>
          <p:cNvSpPr/>
          <p:nvPr/>
        </p:nvSpPr>
        <p:spPr>
          <a:xfrm>
            <a:off x="2312624" y="1409814"/>
            <a:ext cx="1546143" cy="463102"/>
          </a:xfrm>
          <a:prstGeom prst="leftRight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5" name="Двойная стрелка влево/вправо 144"/>
          <p:cNvSpPr/>
          <p:nvPr/>
        </p:nvSpPr>
        <p:spPr>
          <a:xfrm>
            <a:off x="8219168" y="1357418"/>
            <a:ext cx="1546143" cy="463102"/>
          </a:xfrm>
          <a:prstGeom prst="leftRightArrow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47" name="Прямая со стрелкой 146"/>
          <p:cNvCxnSpPr/>
          <p:nvPr/>
        </p:nvCxnSpPr>
        <p:spPr>
          <a:xfrm flipH="1">
            <a:off x="9430312" y="4545634"/>
            <a:ext cx="372629" cy="0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Прямая со стрелкой 147"/>
          <p:cNvCxnSpPr/>
          <p:nvPr/>
        </p:nvCxnSpPr>
        <p:spPr>
          <a:xfrm flipV="1">
            <a:off x="8218476" y="5010385"/>
            <a:ext cx="483203" cy="5713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Прямая со стрелкой 150"/>
          <p:cNvCxnSpPr/>
          <p:nvPr/>
        </p:nvCxnSpPr>
        <p:spPr>
          <a:xfrm flipV="1">
            <a:off x="8039106" y="3476828"/>
            <a:ext cx="627417" cy="523870"/>
          </a:xfrm>
          <a:prstGeom prst="straightConnector1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6" name="Рисунок 15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2912" y="4866529"/>
            <a:ext cx="683114" cy="984066"/>
          </a:xfrm>
          <a:prstGeom prst="rect">
            <a:avLst/>
          </a:prstGeom>
        </p:spPr>
      </p:pic>
      <p:pic>
        <p:nvPicPr>
          <p:cNvPr id="157" name="Рисунок 15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4734" y="4407135"/>
            <a:ext cx="799379" cy="929913"/>
          </a:xfrm>
          <a:prstGeom prst="rect">
            <a:avLst/>
          </a:prstGeom>
        </p:spPr>
      </p:pic>
      <p:pic>
        <p:nvPicPr>
          <p:cNvPr id="161" name="Рисунок 160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8442" y="5903335"/>
            <a:ext cx="1257956" cy="936043"/>
          </a:xfrm>
          <a:prstGeom prst="rect">
            <a:avLst/>
          </a:prstGeom>
        </p:spPr>
      </p:pic>
      <p:sp>
        <p:nvSpPr>
          <p:cNvPr id="57" name="Стрелка вправо 56"/>
          <p:cNvSpPr/>
          <p:nvPr/>
        </p:nvSpPr>
        <p:spPr>
          <a:xfrm flipH="1">
            <a:off x="2877423" y="5874716"/>
            <a:ext cx="7172588" cy="901815"/>
          </a:xfrm>
          <a:prstGeom prst="rightArrow">
            <a:avLst>
              <a:gd name="adj1" fmla="val 50000"/>
              <a:gd name="adj2" fmla="val 84379"/>
            </a:avLst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Rectangle 92"/>
          <p:cNvSpPr/>
          <p:nvPr/>
        </p:nvSpPr>
        <p:spPr>
          <a:xfrm>
            <a:off x="3389997" y="6171734"/>
            <a:ext cx="682994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Информация о </a:t>
            </a: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ru-RU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востребованности и трудоустройстве  студентов </a:t>
            </a:r>
            <a:r>
              <a:rPr lang="ru-RU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и </a:t>
            </a:r>
            <a:r>
              <a:rPr lang="ru-RU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выпускников</a:t>
            </a:r>
            <a:endParaRPr lang="en-US" sz="1200" dirty="0"/>
          </a:p>
        </p:txBody>
      </p:sp>
      <p:pic>
        <p:nvPicPr>
          <p:cNvPr id="162" name="Picture 3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0004" y="268448"/>
            <a:ext cx="2152491" cy="834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64" name="Прямая соединительная линия 163"/>
          <p:cNvCxnSpPr/>
          <p:nvPr/>
        </p:nvCxnSpPr>
        <p:spPr>
          <a:xfrm>
            <a:off x="100470" y="3022953"/>
            <a:ext cx="2509798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Прямая соединительная линия 167"/>
          <p:cNvCxnSpPr/>
          <p:nvPr/>
        </p:nvCxnSpPr>
        <p:spPr>
          <a:xfrm>
            <a:off x="9606265" y="2918300"/>
            <a:ext cx="2509798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Прямая соединительная линия 168"/>
          <p:cNvCxnSpPr/>
          <p:nvPr/>
        </p:nvCxnSpPr>
        <p:spPr>
          <a:xfrm>
            <a:off x="3546494" y="2918300"/>
            <a:ext cx="4959977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Прямая соединительная линия 170"/>
          <p:cNvCxnSpPr/>
          <p:nvPr/>
        </p:nvCxnSpPr>
        <p:spPr>
          <a:xfrm>
            <a:off x="100470" y="2587137"/>
            <a:ext cx="2509798" cy="0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Прямая соединительная линия 171"/>
          <p:cNvCxnSpPr/>
          <p:nvPr/>
        </p:nvCxnSpPr>
        <p:spPr>
          <a:xfrm>
            <a:off x="9638213" y="2463985"/>
            <a:ext cx="2509798" cy="0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Прямая соединительная линия 172"/>
          <p:cNvCxnSpPr/>
          <p:nvPr/>
        </p:nvCxnSpPr>
        <p:spPr>
          <a:xfrm>
            <a:off x="3535744" y="2463985"/>
            <a:ext cx="4924333" cy="0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0476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Рисунок 41"/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379" t="25110" r="5478" b="48253"/>
          <a:stretch/>
        </p:blipFill>
        <p:spPr>
          <a:xfrm>
            <a:off x="3899299" y="145852"/>
            <a:ext cx="5059111" cy="1826818"/>
          </a:xfr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A0E657DE-76CD-4FEE-9314-956B58A61762}"/>
              </a:ext>
            </a:extLst>
          </p:cNvPr>
          <p:cNvSpPr/>
          <p:nvPr/>
        </p:nvSpPr>
        <p:spPr>
          <a:xfrm>
            <a:off x="-12723" y="2003586"/>
            <a:ext cx="12192000" cy="4854414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2" name="Рисунок 1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64" r="5832"/>
          <a:stretch/>
        </p:blipFill>
        <p:spPr>
          <a:xfrm>
            <a:off x="3794335" y="2681488"/>
            <a:ext cx="2879933" cy="2592455"/>
          </a:xfrm>
          <a:ln>
            <a:solidFill>
              <a:schemeClr val="tx2">
                <a:lumMod val="50000"/>
                <a:lumOff val="50000"/>
              </a:schemeClr>
            </a:solidFill>
          </a:ln>
        </p:spPr>
      </p:pic>
      <p:pic>
        <p:nvPicPr>
          <p:cNvPr id="4" name="Рисунок 3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2" r="1094"/>
          <a:stretch/>
        </p:blipFill>
        <p:spPr>
          <a:xfrm>
            <a:off x="0" y="2003586"/>
            <a:ext cx="3247402" cy="2863121"/>
          </a:xfrm>
          <a:ln>
            <a:solidFill>
              <a:schemeClr val="tx2">
                <a:lumMod val="50000"/>
                <a:lumOff val="50000"/>
              </a:schemeClr>
            </a:solidFill>
          </a:ln>
        </p:spPr>
      </p:pic>
      <p:pic>
        <p:nvPicPr>
          <p:cNvPr id="35" name="Рисунок 34"/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76" r="2674"/>
          <a:stretch/>
        </p:blipFill>
        <p:spPr>
          <a:xfrm>
            <a:off x="7440739" y="2319534"/>
            <a:ext cx="2777197" cy="2501217"/>
          </a:xfrm>
          <a:ln>
            <a:solidFill>
              <a:schemeClr val="tx2">
                <a:lumMod val="50000"/>
                <a:lumOff val="50000"/>
              </a:schemeClr>
            </a:solidFill>
          </a:ln>
        </p:spPr>
      </p:pic>
      <p:pic>
        <p:nvPicPr>
          <p:cNvPr id="43" name="Рисунок 42"/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41" r="13187"/>
          <a:stretch/>
        </p:blipFill>
        <p:spPr>
          <a:xfrm>
            <a:off x="9269610" y="338999"/>
            <a:ext cx="2821111" cy="1697156"/>
          </a:xfr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E44617F0-BDA1-4FC4-9585-CF8925E7F98D}"/>
              </a:ext>
            </a:extLst>
          </p:cNvPr>
          <p:cNvSpPr txBox="1"/>
          <p:nvPr/>
        </p:nvSpPr>
        <p:spPr>
          <a:xfrm>
            <a:off x="78433" y="167866"/>
            <a:ext cx="357916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Веб-страницы и разделы портфолио</a:t>
            </a:r>
            <a:endParaRPr lang="id-ID" sz="2800" b="1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2B896895-31FE-4E2F-98FA-70D23DB55434}"/>
              </a:ext>
            </a:extLst>
          </p:cNvPr>
          <p:cNvGrpSpPr/>
          <p:nvPr/>
        </p:nvGrpSpPr>
        <p:grpSpPr>
          <a:xfrm>
            <a:off x="10086158" y="3977716"/>
            <a:ext cx="2093119" cy="2674651"/>
            <a:chOff x="684358" y="2902022"/>
            <a:chExt cx="3364308" cy="3364307"/>
          </a:xfrm>
          <a:solidFill>
            <a:schemeClr val="bg1">
              <a:lumMod val="95000"/>
            </a:schemeClr>
          </a:solidFill>
        </p:grpSpPr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xmlns="" id="{0494118C-51A2-4DE0-B3CD-18A862BAF0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358" y="2902022"/>
              <a:ext cx="392746" cy="393856"/>
            </a:xfrm>
            <a:custGeom>
              <a:avLst/>
              <a:gdLst>
                <a:gd name="T0" fmla="*/ 354 w 709"/>
                <a:gd name="T1" fmla="*/ 0 h 709"/>
                <a:gd name="T2" fmla="*/ 709 w 709"/>
                <a:gd name="T3" fmla="*/ 355 h 709"/>
                <a:gd name="T4" fmla="*/ 354 w 709"/>
                <a:gd name="T5" fmla="*/ 709 h 709"/>
                <a:gd name="T6" fmla="*/ 0 w 709"/>
                <a:gd name="T7" fmla="*/ 355 h 709"/>
                <a:gd name="T8" fmla="*/ 354 w 709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09">
                  <a:moveTo>
                    <a:pt x="354" y="0"/>
                  </a:moveTo>
                  <a:lnTo>
                    <a:pt x="709" y="355"/>
                  </a:lnTo>
                  <a:lnTo>
                    <a:pt x="354" y="709"/>
                  </a:lnTo>
                  <a:lnTo>
                    <a:pt x="0" y="355"/>
                  </a:lnTo>
                  <a:lnTo>
                    <a:pt x="3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xmlns="" id="{9DC24FA8-4864-4503-9725-8D756AFE27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7308" y="2902022"/>
              <a:ext cx="392746" cy="393856"/>
            </a:xfrm>
            <a:custGeom>
              <a:avLst/>
              <a:gdLst>
                <a:gd name="T0" fmla="*/ 355 w 709"/>
                <a:gd name="T1" fmla="*/ 0 h 709"/>
                <a:gd name="T2" fmla="*/ 709 w 709"/>
                <a:gd name="T3" fmla="*/ 355 h 709"/>
                <a:gd name="T4" fmla="*/ 355 w 709"/>
                <a:gd name="T5" fmla="*/ 709 h 709"/>
                <a:gd name="T6" fmla="*/ 0 w 709"/>
                <a:gd name="T7" fmla="*/ 355 h 709"/>
                <a:gd name="T8" fmla="*/ 355 w 709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09">
                  <a:moveTo>
                    <a:pt x="355" y="0"/>
                  </a:moveTo>
                  <a:lnTo>
                    <a:pt x="709" y="355"/>
                  </a:lnTo>
                  <a:lnTo>
                    <a:pt x="355" y="709"/>
                  </a:lnTo>
                  <a:lnTo>
                    <a:pt x="0" y="355"/>
                  </a:lnTo>
                  <a:lnTo>
                    <a:pt x="3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xmlns="" id="{B7A2A106-CDC3-4C9D-8493-22AE7F6115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9149" y="2902022"/>
              <a:ext cx="394964" cy="393856"/>
            </a:xfrm>
            <a:custGeom>
              <a:avLst/>
              <a:gdLst>
                <a:gd name="T0" fmla="*/ 356 w 710"/>
                <a:gd name="T1" fmla="*/ 0 h 709"/>
                <a:gd name="T2" fmla="*/ 710 w 710"/>
                <a:gd name="T3" fmla="*/ 355 h 709"/>
                <a:gd name="T4" fmla="*/ 356 w 710"/>
                <a:gd name="T5" fmla="*/ 709 h 709"/>
                <a:gd name="T6" fmla="*/ 0 w 710"/>
                <a:gd name="T7" fmla="*/ 355 h 709"/>
                <a:gd name="T8" fmla="*/ 356 w 710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0" h="709">
                  <a:moveTo>
                    <a:pt x="356" y="0"/>
                  </a:moveTo>
                  <a:lnTo>
                    <a:pt x="710" y="355"/>
                  </a:lnTo>
                  <a:lnTo>
                    <a:pt x="356" y="709"/>
                  </a:lnTo>
                  <a:lnTo>
                    <a:pt x="0" y="355"/>
                  </a:lnTo>
                  <a:lnTo>
                    <a:pt x="3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xmlns="" id="{47632E5B-DB62-4A2D-A113-57BF162D7E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1860" y="2902022"/>
              <a:ext cx="393856" cy="393856"/>
            </a:xfrm>
            <a:custGeom>
              <a:avLst/>
              <a:gdLst>
                <a:gd name="T0" fmla="*/ 354 w 709"/>
                <a:gd name="T1" fmla="*/ 0 h 709"/>
                <a:gd name="T2" fmla="*/ 709 w 709"/>
                <a:gd name="T3" fmla="*/ 355 h 709"/>
                <a:gd name="T4" fmla="*/ 354 w 709"/>
                <a:gd name="T5" fmla="*/ 709 h 709"/>
                <a:gd name="T6" fmla="*/ 0 w 709"/>
                <a:gd name="T7" fmla="*/ 355 h 709"/>
                <a:gd name="T8" fmla="*/ 354 w 709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09">
                  <a:moveTo>
                    <a:pt x="354" y="0"/>
                  </a:moveTo>
                  <a:lnTo>
                    <a:pt x="709" y="355"/>
                  </a:lnTo>
                  <a:lnTo>
                    <a:pt x="354" y="709"/>
                  </a:lnTo>
                  <a:lnTo>
                    <a:pt x="0" y="355"/>
                  </a:lnTo>
                  <a:lnTo>
                    <a:pt x="3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xmlns="" id="{A2CB9651-96D1-4E21-861F-66E09E5766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810" y="2902022"/>
              <a:ext cx="393856" cy="393856"/>
            </a:xfrm>
            <a:custGeom>
              <a:avLst/>
              <a:gdLst>
                <a:gd name="T0" fmla="*/ 354 w 709"/>
                <a:gd name="T1" fmla="*/ 0 h 709"/>
                <a:gd name="T2" fmla="*/ 709 w 709"/>
                <a:gd name="T3" fmla="*/ 355 h 709"/>
                <a:gd name="T4" fmla="*/ 354 w 709"/>
                <a:gd name="T5" fmla="*/ 709 h 709"/>
                <a:gd name="T6" fmla="*/ 0 w 709"/>
                <a:gd name="T7" fmla="*/ 355 h 709"/>
                <a:gd name="T8" fmla="*/ 354 w 709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09">
                  <a:moveTo>
                    <a:pt x="354" y="0"/>
                  </a:moveTo>
                  <a:lnTo>
                    <a:pt x="709" y="355"/>
                  </a:lnTo>
                  <a:lnTo>
                    <a:pt x="354" y="709"/>
                  </a:lnTo>
                  <a:lnTo>
                    <a:pt x="0" y="355"/>
                  </a:lnTo>
                  <a:lnTo>
                    <a:pt x="3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xmlns="" id="{9B08D202-1E55-4E0D-B590-A0AE44B05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358" y="3644972"/>
              <a:ext cx="392746" cy="393856"/>
            </a:xfrm>
            <a:custGeom>
              <a:avLst/>
              <a:gdLst>
                <a:gd name="T0" fmla="*/ 354 w 709"/>
                <a:gd name="T1" fmla="*/ 0 h 709"/>
                <a:gd name="T2" fmla="*/ 709 w 709"/>
                <a:gd name="T3" fmla="*/ 355 h 709"/>
                <a:gd name="T4" fmla="*/ 354 w 709"/>
                <a:gd name="T5" fmla="*/ 709 h 709"/>
                <a:gd name="T6" fmla="*/ 0 w 709"/>
                <a:gd name="T7" fmla="*/ 355 h 709"/>
                <a:gd name="T8" fmla="*/ 354 w 709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09">
                  <a:moveTo>
                    <a:pt x="354" y="0"/>
                  </a:moveTo>
                  <a:lnTo>
                    <a:pt x="709" y="355"/>
                  </a:lnTo>
                  <a:lnTo>
                    <a:pt x="354" y="709"/>
                  </a:lnTo>
                  <a:lnTo>
                    <a:pt x="0" y="355"/>
                  </a:lnTo>
                  <a:lnTo>
                    <a:pt x="3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xmlns="" id="{66ACB942-0F94-4FBD-BF36-790208250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7308" y="3644972"/>
              <a:ext cx="392746" cy="393856"/>
            </a:xfrm>
            <a:custGeom>
              <a:avLst/>
              <a:gdLst>
                <a:gd name="T0" fmla="*/ 355 w 709"/>
                <a:gd name="T1" fmla="*/ 0 h 709"/>
                <a:gd name="T2" fmla="*/ 709 w 709"/>
                <a:gd name="T3" fmla="*/ 355 h 709"/>
                <a:gd name="T4" fmla="*/ 355 w 709"/>
                <a:gd name="T5" fmla="*/ 709 h 709"/>
                <a:gd name="T6" fmla="*/ 0 w 709"/>
                <a:gd name="T7" fmla="*/ 355 h 709"/>
                <a:gd name="T8" fmla="*/ 355 w 709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09">
                  <a:moveTo>
                    <a:pt x="355" y="0"/>
                  </a:moveTo>
                  <a:lnTo>
                    <a:pt x="709" y="355"/>
                  </a:lnTo>
                  <a:lnTo>
                    <a:pt x="355" y="709"/>
                  </a:lnTo>
                  <a:lnTo>
                    <a:pt x="0" y="355"/>
                  </a:lnTo>
                  <a:lnTo>
                    <a:pt x="3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xmlns="" id="{6255A80A-012E-4A11-8E8A-F95EB5A39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9149" y="3644972"/>
              <a:ext cx="394964" cy="393856"/>
            </a:xfrm>
            <a:custGeom>
              <a:avLst/>
              <a:gdLst>
                <a:gd name="T0" fmla="*/ 356 w 710"/>
                <a:gd name="T1" fmla="*/ 0 h 709"/>
                <a:gd name="T2" fmla="*/ 710 w 710"/>
                <a:gd name="T3" fmla="*/ 355 h 709"/>
                <a:gd name="T4" fmla="*/ 356 w 710"/>
                <a:gd name="T5" fmla="*/ 709 h 709"/>
                <a:gd name="T6" fmla="*/ 0 w 710"/>
                <a:gd name="T7" fmla="*/ 355 h 709"/>
                <a:gd name="T8" fmla="*/ 356 w 710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0" h="709">
                  <a:moveTo>
                    <a:pt x="356" y="0"/>
                  </a:moveTo>
                  <a:lnTo>
                    <a:pt x="710" y="355"/>
                  </a:lnTo>
                  <a:lnTo>
                    <a:pt x="356" y="709"/>
                  </a:lnTo>
                  <a:lnTo>
                    <a:pt x="0" y="355"/>
                  </a:lnTo>
                  <a:lnTo>
                    <a:pt x="3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xmlns="" id="{4B6574DD-8830-4FEA-A50E-A67D9105A4C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1860" y="3644972"/>
              <a:ext cx="393856" cy="393856"/>
            </a:xfrm>
            <a:custGeom>
              <a:avLst/>
              <a:gdLst>
                <a:gd name="T0" fmla="*/ 354 w 709"/>
                <a:gd name="T1" fmla="*/ 0 h 709"/>
                <a:gd name="T2" fmla="*/ 709 w 709"/>
                <a:gd name="T3" fmla="*/ 355 h 709"/>
                <a:gd name="T4" fmla="*/ 354 w 709"/>
                <a:gd name="T5" fmla="*/ 709 h 709"/>
                <a:gd name="T6" fmla="*/ 0 w 709"/>
                <a:gd name="T7" fmla="*/ 355 h 709"/>
                <a:gd name="T8" fmla="*/ 354 w 709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09">
                  <a:moveTo>
                    <a:pt x="354" y="0"/>
                  </a:moveTo>
                  <a:lnTo>
                    <a:pt x="709" y="355"/>
                  </a:lnTo>
                  <a:lnTo>
                    <a:pt x="354" y="709"/>
                  </a:lnTo>
                  <a:lnTo>
                    <a:pt x="0" y="355"/>
                  </a:lnTo>
                  <a:lnTo>
                    <a:pt x="3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xmlns="" id="{66B8D709-36BC-460A-991B-4A444394BA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810" y="3644972"/>
              <a:ext cx="393856" cy="393856"/>
            </a:xfrm>
            <a:custGeom>
              <a:avLst/>
              <a:gdLst>
                <a:gd name="T0" fmla="*/ 354 w 709"/>
                <a:gd name="T1" fmla="*/ 0 h 709"/>
                <a:gd name="T2" fmla="*/ 709 w 709"/>
                <a:gd name="T3" fmla="*/ 355 h 709"/>
                <a:gd name="T4" fmla="*/ 354 w 709"/>
                <a:gd name="T5" fmla="*/ 709 h 709"/>
                <a:gd name="T6" fmla="*/ 0 w 709"/>
                <a:gd name="T7" fmla="*/ 355 h 709"/>
                <a:gd name="T8" fmla="*/ 354 w 709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09">
                  <a:moveTo>
                    <a:pt x="354" y="0"/>
                  </a:moveTo>
                  <a:lnTo>
                    <a:pt x="709" y="355"/>
                  </a:lnTo>
                  <a:lnTo>
                    <a:pt x="354" y="709"/>
                  </a:lnTo>
                  <a:lnTo>
                    <a:pt x="0" y="355"/>
                  </a:lnTo>
                  <a:lnTo>
                    <a:pt x="3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xmlns="" id="{5EB3D56D-0E8D-454C-ACC0-E9CF938E68C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358" y="4386574"/>
              <a:ext cx="392746" cy="394964"/>
            </a:xfrm>
            <a:custGeom>
              <a:avLst/>
              <a:gdLst>
                <a:gd name="T0" fmla="*/ 354 w 709"/>
                <a:gd name="T1" fmla="*/ 0 h 710"/>
                <a:gd name="T2" fmla="*/ 709 w 709"/>
                <a:gd name="T3" fmla="*/ 354 h 710"/>
                <a:gd name="T4" fmla="*/ 354 w 709"/>
                <a:gd name="T5" fmla="*/ 710 h 710"/>
                <a:gd name="T6" fmla="*/ 0 w 709"/>
                <a:gd name="T7" fmla="*/ 354 h 710"/>
                <a:gd name="T8" fmla="*/ 354 w 709"/>
                <a:gd name="T9" fmla="*/ 0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10">
                  <a:moveTo>
                    <a:pt x="354" y="0"/>
                  </a:moveTo>
                  <a:lnTo>
                    <a:pt x="709" y="354"/>
                  </a:lnTo>
                  <a:lnTo>
                    <a:pt x="354" y="710"/>
                  </a:lnTo>
                  <a:lnTo>
                    <a:pt x="0" y="354"/>
                  </a:lnTo>
                  <a:lnTo>
                    <a:pt x="3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xmlns="" id="{19B55EF3-F186-40E9-BBAE-A63E214EC7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7308" y="4386574"/>
              <a:ext cx="392746" cy="394964"/>
            </a:xfrm>
            <a:custGeom>
              <a:avLst/>
              <a:gdLst>
                <a:gd name="T0" fmla="*/ 355 w 709"/>
                <a:gd name="T1" fmla="*/ 0 h 710"/>
                <a:gd name="T2" fmla="*/ 709 w 709"/>
                <a:gd name="T3" fmla="*/ 354 h 710"/>
                <a:gd name="T4" fmla="*/ 355 w 709"/>
                <a:gd name="T5" fmla="*/ 710 h 710"/>
                <a:gd name="T6" fmla="*/ 0 w 709"/>
                <a:gd name="T7" fmla="*/ 354 h 710"/>
                <a:gd name="T8" fmla="*/ 355 w 709"/>
                <a:gd name="T9" fmla="*/ 0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10">
                  <a:moveTo>
                    <a:pt x="355" y="0"/>
                  </a:moveTo>
                  <a:lnTo>
                    <a:pt x="709" y="354"/>
                  </a:lnTo>
                  <a:lnTo>
                    <a:pt x="355" y="710"/>
                  </a:lnTo>
                  <a:lnTo>
                    <a:pt x="0" y="354"/>
                  </a:lnTo>
                  <a:lnTo>
                    <a:pt x="3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xmlns="" id="{99F28922-D01A-4545-BE42-E74358169C8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9149" y="4386574"/>
              <a:ext cx="394964" cy="394964"/>
            </a:xfrm>
            <a:custGeom>
              <a:avLst/>
              <a:gdLst>
                <a:gd name="T0" fmla="*/ 356 w 710"/>
                <a:gd name="T1" fmla="*/ 0 h 710"/>
                <a:gd name="T2" fmla="*/ 710 w 710"/>
                <a:gd name="T3" fmla="*/ 354 h 710"/>
                <a:gd name="T4" fmla="*/ 356 w 710"/>
                <a:gd name="T5" fmla="*/ 710 h 710"/>
                <a:gd name="T6" fmla="*/ 0 w 710"/>
                <a:gd name="T7" fmla="*/ 354 h 710"/>
                <a:gd name="T8" fmla="*/ 356 w 710"/>
                <a:gd name="T9" fmla="*/ 0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0" h="710">
                  <a:moveTo>
                    <a:pt x="356" y="0"/>
                  </a:moveTo>
                  <a:lnTo>
                    <a:pt x="710" y="354"/>
                  </a:lnTo>
                  <a:lnTo>
                    <a:pt x="356" y="710"/>
                  </a:lnTo>
                  <a:lnTo>
                    <a:pt x="0" y="354"/>
                  </a:lnTo>
                  <a:lnTo>
                    <a:pt x="3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xmlns="" id="{743A06EA-7466-4FE7-B453-87EF2A7DAE2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1860" y="4386574"/>
              <a:ext cx="393856" cy="394964"/>
            </a:xfrm>
            <a:custGeom>
              <a:avLst/>
              <a:gdLst>
                <a:gd name="T0" fmla="*/ 354 w 709"/>
                <a:gd name="T1" fmla="*/ 0 h 710"/>
                <a:gd name="T2" fmla="*/ 709 w 709"/>
                <a:gd name="T3" fmla="*/ 354 h 710"/>
                <a:gd name="T4" fmla="*/ 354 w 709"/>
                <a:gd name="T5" fmla="*/ 710 h 710"/>
                <a:gd name="T6" fmla="*/ 0 w 709"/>
                <a:gd name="T7" fmla="*/ 354 h 710"/>
                <a:gd name="T8" fmla="*/ 354 w 709"/>
                <a:gd name="T9" fmla="*/ 0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10">
                  <a:moveTo>
                    <a:pt x="354" y="0"/>
                  </a:moveTo>
                  <a:lnTo>
                    <a:pt x="709" y="354"/>
                  </a:lnTo>
                  <a:lnTo>
                    <a:pt x="354" y="710"/>
                  </a:lnTo>
                  <a:lnTo>
                    <a:pt x="0" y="354"/>
                  </a:lnTo>
                  <a:lnTo>
                    <a:pt x="3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20">
              <a:extLst>
                <a:ext uri="{FF2B5EF4-FFF2-40B4-BE49-F238E27FC236}">
                  <a16:creationId xmlns:a16="http://schemas.microsoft.com/office/drawing/2014/main" xmlns="" id="{15AC8C3B-1231-4BC2-AA33-16EC135DBA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810" y="4386574"/>
              <a:ext cx="393856" cy="394964"/>
            </a:xfrm>
            <a:custGeom>
              <a:avLst/>
              <a:gdLst>
                <a:gd name="T0" fmla="*/ 354 w 709"/>
                <a:gd name="T1" fmla="*/ 0 h 710"/>
                <a:gd name="T2" fmla="*/ 709 w 709"/>
                <a:gd name="T3" fmla="*/ 354 h 710"/>
                <a:gd name="T4" fmla="*/ 354 w 709"/>
                <a:gd name="T5" fmla="*/ 710 h 710"/>
                <a:gd name="T6" fmla="*/ 0 w 709"/>
                <a:gd name="T7" fmla="*/ 354 h 710"/>
                <a:gd name="T8" fmla="*/ 354 w 709"/>
                <a:gd name="T9" fmla="*/ 0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10">
                  <a:moveTo>
                    <a:pt x="354" y="0"/>
                  </a:moveTo>
                  <a:lnTo>
                    <a:pt x="709" y="354"/>
                  </a:lnTo>
                  <a:lnTo>
                    <a:pt x="354" y="710"/>
                  </a:lnTo>
                  <a:lnTo>
                    <a:pt x="0" y="354"/>
                  </a:lnTo>
                  <a:lnTo>
                    <a:pt x="3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Freeform 21">
              <a:extLst>
                <a:ext uri="{FF2B5EF4-FFF2-40B4-BE49-F238E27FC236}">
                  <a16:creationId xmlns:a16="http://schemas.microsoft.com/office/drawing/2014/main" xmlns="" id="{6C401DE4-0CD0-4FFF-935D-A025CAB325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358" y="5130633"/>
              <a:ext cx="392746" cy="392746"/>
            </a:xfrm>
            <a:custGeom>
              <a:avLst/>
              <a:gdLst>
                <a:gd name="T0" fmla="*/ 354 w 709"/>
                <a:gd name="T1" fmla="*/ 0 h 709"/>
                <a:gd name="T2" fmla="*/ 709 w 709"/>
                <a:gd name="T3" fmla="*/ 354 h 709"/>
                <a:gd name="T4" fmla="*/ 354 w 709"/>
                <a:gd name="T5" fmla="*/ 709 h 709"/>
                <a:gd name="T6" fmla="*/ 0 w 709"/>
                <a:gd name="T7" fmla="*/ 354 h 709"/>
                <a:gd name="T8" fmla="*/ 354 w 709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09">
                  <a:moveTo>
                    <a:pt x="354" y="0"/>
                  </a:moveTo>
                  <a:lnTo>
                    <a:pt x="709" y="354"/>
                  </a:lnTo>
                  <a:lnTo>
                    <a:pt x="354" y="709"/>
                  </a:lnTo>
                  <a:lnTo>
                    <a:pt x="0" y="354"/>
                  </a:lnTo>
                  <a:lnTo>
                    <a:pt x="3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Freeform 22">
              <a:extLst>
                <a:ext uri="{FF2B5EF4-FFF2-40B4-BE49-F238E27FC236}">
                  <a16:creationId xmlns:a16="http://schemas.microsoft.com/office/drawing/2014/main" xmlns="" id="{5225347C-FC97-4F6E-971C-B2BE22DBD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7308" y="5130633"/>
              <a:ext cx="392746" cy="392746"/>
            </a:xfrm>
            <a:custGeom>
              <a:avLst/>
              <a:gdLst>
                <a:gd name="T0" fmla="*/ 355 w 709"/>
                <a:gd name="T1" fmla="*/ 0 h 709"/>
                <a:gd name="T2" fmla="*/ 709 w 709"/>
                <a:gd name="T3" fmla="*/ 354 h 709"/>
                <a:gd name="T4" fmla="*/ 355 w 709"/>
                <a:gd name="T5" fmla="*/ 709 h 709"/>
                <a:gd name="T6" fmla="*/ 0 w 709"/>
                <a:gd name="T7" fmla="*/ 354 h 709"/>
                <a:gd name="T8" fmla="*/ 355 w 709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09">
                  <a:moveTo>
                    <a:pt x="355" y="0"/>
                  </a:moveTo>
                  <a:lnTo>
                    <a:pt x="709" y="354"/>
                  </a:lnTo>
                  <a:lnTo>
                    <a:pt x="355" y="709"/>
                  </a:lnTo>
                  <a:lnTo>
                    <a:pt x="0" y="354"/>
                  </a:lnTo>
                  <a:lnTo>
                    <a:pt x="3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Freeform 23">
              <a:extLst>
                <a:ext uri="{FF2B5EF4-FFF2-40B4-BE49-F238E27FC236}">
                  <a16:creationId xmlns:a16="http://schemas.microsoft.com/office/drawing/2014/main" xmlns="" id="{74FB5F1B-0A0C-4172-90C6-EB6292E1504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9149" y="5130633"/>
              <a:ext cx="394964" cy="392746"/>
            </a:xfrm>
            <a:custGeom>
              <a:avLst/>
              <a:gdLst>
                <a:gd name="T0" fmla="*/ 356 w 710"/>
                <a:gd name="T1" fmla="*/ 0 h 709"/>
                <a:gd name="T2" fmla="*/ 710 w 710"/>
                <a:gd name="T3" fmla="*/ 354 h 709"/>
                <a:gd name="T4" fmla="*/ 356 w 710"/>
                <a:gd name="T5" fmla="*/ 709 h 709"/>
                <a:gd name="T6" fmla="*/ 0 w 710"/>
                <a:gd name="T7" fmla="*/ 354 h 709"/>
                <a:gd name="T8" fmla="*/ 356 w 710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0" h="709">
                  <a:moveTo>
                    <a:pt x="356" y="0"/>
                  </a:moveTo>
                  <a:lnTo>
                    <a:pt x="710" y="354"/>
                  </a:lnTo>
                  <a:lnTo>
                    <a:pt x="356" y="709"/>
                  </a:lnTo>
                  <a:lnTo>
                    <a:pt x="0" y="354"/>
                  </a:lnTo>
                  <a:lnTo>
                    <a:pt x="3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24">
              <a:extLst>
                <a:ext uri="{FF2B5EF4-FFF2-40B4-BE49-F238E27FC236}">
                  <a16:creationId xmlns:a16="http://schemas.microsoft.com/office/drawing/2014/main" xmlns="" id="{C8D7627B-7F5A-4E0A-A8FA-E39A2BA3814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1860" y="5130633"/>
              <a:ext cx="393856" cy="392746"/>
            </a:xfrm>
            <a:custGeom>
              <a:avLst/>
              <a:gdLst>
                <a:gd name="T0" fmla="*/ 354 w 709"/>
                <a:gd name="T1" fmla="*/ 0 h 709"/>
                <a:gd name="T2" fmla="*/ 709 w 709"/>
                <a:gd name="T3" fmla="*/ 354 h 709"/>
                <a:gd name="T4" fmla="*/ 354 w 709"/>
                <a:gd name="T5" fmla="*/ 709 h 709"/>
                <a:gd name="T6" fmla="*/ 0 w 709"/>
                <a:gd name="T7" fmla="*/ 354 h 709"/>
                <a:gd name="T8" fmla="*/ 354 w 709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09">
                  <a:moveTo>
                    <a:pt x="354" y="0"/>
                  </a:moveTo>
                  <a:lnTo>
                    <a:pt x="709" y="354"/>
                  </a:lnTo>
                  <a:lnTo>
                    <a:pt x="354" y="709"/>
                  </a:lnTo>
                  <a:lnTo>
                    <a:pt x="0" y="354"/>
                  </a:lnTo>
                  <a:lnTo>
                    <a:pt x="3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25">
              <a:extLst>
                <a:ext uri="{FF2B5EF4-FFF2-40B4-BE49-F238E27FC236}">
                  <a16:creationId xmlns:a16="http://schemas.microsoft.com/office/drawing/2014/main" xmlns="" id="{5D4B0BC6-D057-41D4-BA89-A28D383C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810" y="5130633"/>
              <a:ext cx="393856" cy="392746"/>
            </a:xfrm>
            <a:custGeom>
              <a:avLst/>
              <a:gdLst>
                <a:gd name="T0" fmla="*/ 354 w 709"/>
                <a:gd name="T1" fmla="*/ 0 h 709"/>
                <a:gd name="T2" fmla="*/ 709 w 709"/>
                <a:gd name="T3" fmla="*/ 354 h 709"/>
                <a:gd name="T4" fmla="*/ 354 w 709"/>
                <a:gd name="T5" fmla="*/ 709 h 709"/>
                <a:gd name="T6" fmla="*/ 0 w 709"/>
                <a:gd name="T7" fmla="*/ 354 h 709"/>
                <a:gd name="T8" fmla="*/ 354 w 709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09">
                  <a:moveTo>
                    <a:pt x="354" y="0"/>
                  </a:moveTo>
                  <a:lnTo>
                    <a:pt x="709" y="354"/>
                  </a:lnTo>
                  <a:lnTo>
                    <a:pt x="354" y="709"/>
                  </a:lnTo>
                  <a:lnTo>
                    <a:pt x="0" y="354"/>
                  </a:lnTo>
                  <a:lnTo>
                    <a:pt x="3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26">
              <a:extLst>
                <a:ext uri="{FF2B5EF4-FFF2-40B4-BE49-F238E27FC236}">
                  <a16:creationId xmlns:a16="http://schemas.microsoft.com/office/drawing/2014/main" xmlns="" id="{A5A2F515-FEBB-4A0E-A75E-DA4A8AB00CFA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358" y="5873583"/>
              <a:ext cx="392746" cy="392746"/>
            </a:xfrm>
            <a:custGeom>
              <a:avLst/>
              <a:gdLst>
                <a:gd name="T0" fmla="*/ 354 w 709"/>
                <a:gd name="T1" fmla="*/ 0 h 709"/>
                <a:gd name="T2" fmla="*/ 709 w 709"/>
                <a:gd name="T3" fmla="*/ 355 h 709"/>
                <a:gd name="T4" fmla="*/ 354 w 709"/>
                <a:gd name="T5" fmla="*/ 709 h 709"/>
                <a:gd name="T6" fmla="*/ 0 w 709"/>
                <a:gd name="T7" fmla="*/ 355 h 709"/>
                <a:gd name="T8" fmla="*/ 354 w 709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09">
                  <a:moveTo>
                    <a:pt x="354" y="0"/>
                  </a:moveTo>
                  <a:lnTo>
                    <a:pt x="709" y="355"/>
                  </a:lnTo>
                  <a:lnTo>
                    <a:pt x="354" y="709"/>
                  </a:lnTo>
                  <a:lnTo>
                    <a:pt x="0" y="355"/>
                  </a:lnTo>
                  <a:lnTo>
                    <a:pt x="3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27">
              <a:extLst>
                <a:ext uri="{FF2B5EF4-FFF2-40B4-BE49-F238E27FC236}">
                  <a16:creationId xmlns:a16="http://schemas.microsoft.com/office/drawing/2014/main" xmlns="" id="{ACB916A4-5B9B-4BFF-8271-1A700C15B0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7308" y="5873583"/>
              <a:ext cx="392746" cy="392746"/>
            </a:xfrm>
            <a:custGeom>
              <a:avLst/>
              <a:gdLst>
                <a:gd name="T0" fmla="*/ 355 w 709"/>
                <a:gd name="T1" fmla="*/ 0 h 709"/>
                <a:gd name="T2" fmla="*/ 709 w 709"/>
                <a:gd name="T3" fmla="*/ 355 h 709"/>
                <a:gd name="T4" fmla="*/ 355 w 709"/>
                <a:gd name="T5" fmla="*/ 709 h 709"/>
                <a:gd name="T6" fmla="*/ 0 w 709"/>
                <a:gd name="T7" fmla="*/ 355 h 709"/>
                <a:gd name="T8" fmla="*/ 355 w 709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09">
                  <a:moveTo>
                    <a:pt x="355" y="0"/>
                  </a:moveTo>
                  <a:lnTo>
                    <a:pt x="709" y="355"/>
                  </a:lnTo>
                  <a:lnTo>
                    <a:pt x="355" y="709"/>
                  </a:lnTo>
                  <a:lnTo>
                    <a:pt x="0" y="355"/>
                  </a:lnTo>
                  <a:lnTo>
                    <a:pt x="3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28">
              <a:extLst>
                <a:ext uri="{FF2B5EF4-FFF2-40B4-BE49-F238E27FC236}">
                  <a16:creationId xmlns:a16="http://schemas.microsoft.com/office/drawing/2014/main" xmlns="" id="{1D3E37F5-81E8-4F71-A5D7-E53FA9E8E815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9149" y="5873583"/>
              <a:ext cx="394964" cy="392746"/>
            </a:xfrm>
            <a:custGeom>
              <a:avLst/>
              <a:gdLst>
                <a:gd name="T0" fmla="*/ 356 w 710"/>
                <a:gd name="T1" fmla="*/ 0 h 709"/>
                <a:gd name="T2" fmla="*/ 710 w 710"/>
                <a:gd name="T3" fmla="*/ 355 h 709"/>
                <a:gd name="T4" fmla="*/ 356 w 710"/>
                <a:gd name="T5" fmla="*/ 709 h 709"/>
                <a:gd name="T6" fmla="*/ 0 w 710"/>
                <a:gd name="T7" fmla="*/ 355 h 709"/>
                <a:gd name="T8" fmla="*/ 356 w 710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0" h="709">
                  <a:moveTo>
                    <a:pt x="356" y="0"/>
                  </a:moveTo>
                  <a:lnTo>
                    <a:pt x="710" y="355"/>
                  </a:lnTo>
                  <a:lnTo>
                    <a:pt x="356" y="709"/>
                  </a:lnTo>
                  <a:lnTo>
                    <a:pt x="0" y="355"/>
                  </a:lnTo>
                  <a:lnTo>
                    <a:pt x="3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29">
              <a:extLst>
                <a:ext uri="{FF2B5EF4-FFF2-40B4-BE49-F238E27FC236}">
                  <a16:creationId xmlns:a16="http://schemas.microsoft.com/office/drawing/2014/main" xmlns="" id="{28E16330-1EEB-45CD-B948-24E58ECC8F5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1860" y="5873583"/>
              <a:ext cx="393856" cy="392746"/>
            </a:xfrm>
            <a:custGeom>
              <a:avLst/>
              <a:gdLst>
                <a:gd name="T0" fmla="*/ 354 w 709"/>
                <a:gd name="T1" fmla="*/ 0 h 709"/>
                <a:gd name="T2" fmla="*/ 709 w 709"/>
                <a:gd name="T3" fmla="*/ 355 h 709"/>
                <a:gd name="T4" fmla="*/ 354 w 709"/>
                <a:gd name="T5" fmla="*/ 709 h 709"/>
                <a:gd name="T6" fmla="*/ 0 w 709"/>
                <a:gd name="T7" fmla="*/ 355 h 709"/>
                <a:gd name="T8" fmla="*/ 354 w 709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09">
                  <a:moveTo>
                    <a:pt x="354" y="0"/>
                  </a:moveTo>
                  <a:lnTo>
                    <a:pt x="709" y="355"/>
                  </a:lnTo>
                  <a:lnTo>
                    <a:pt x="354" y="709"/>
                  </a:lnTo>
                  <a:lnTo>
                    <a:pt x="0" y="355"/>
                  </a:lnTo>
                  <a:lnTo>
                    <a:pt x="3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30">
              <a:extLst>
                <a:ext uri="{FF2B5EF4-FFF2-40B4-BE49-F238E27FC236}">
                  <a16:creationId xmlns:a16="http://schemas.microsoft.com/office/drawing/2014/main" xmlns="" id="{A82EFE8D-565D-4C87-92CE-B817373715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810" y="5873583"/>
              <a:ext cx="393856" cy="392746"/>
            </a:xfrm>
            <a:custGeom>
              <a:avLst/>
              <a:gdLst>
                <a:gd name="T0" fmla="*/ 354 w 709"/>
                <a:gd name="T1" fmla="*/ 0 h 709"/>
                <a:gd name="T2" fmla="*/ 709 w 709"/>
                <a:gd name="T3" fmla="*/ 355 h 709"/>
                <a:gd name="T4" fmla="*/ 354 w 709"/>
                <a:gd name="T5" fmla="*/ 709 h 709"/>
                <a:gd name="T6" fmla="*/ 0 w 709"/>
                <a:gd name="T7" fmla="*/ 355 h 709"/>
                <a:gd name="T8" fmla="*/ 354 w 709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09">
                  <a:moveTo>
                    <a:pt x="354" y="0"/>
                  </a:moveTo>
                  <a:lnTo>
                    <a:pt x="709" y="355"/>
                  </a:lnTo>
                  <a:lnTo>
                    <a:pt x="354" y="709"/>
                  </a:lnTo>
                  <a:lnTo>
                    <a:pt x="0" y="355"/>
                  </a:lnTo>
                  <a:lnTo>
                    <a:pt x="3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45" name="Прямая со стрелкой 44"/>
          <p:cNvCxnSpPr/>
          <p:nvPr/>
        </p:nvCxnSpPr>
        <p:spPr>
          <a:xfrm flipH="1">
            <a:off x="3187582" y="1764057"/>
            <a:ext cx="888762" cy="555477"/>
          </a:xfrm>
          <a:prstGeom prst="straightConnector1">
            <a:avLst/>
          </a:prstGeom>
          <a:ln w="38100">
            <a:solidFill>
              <a:schemeClr val="tx2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 стрелкой 47"/>
          <p:cNvCxnSpPr/>
          <p:nvPr/>
        </p:nvCxnSpPr>
        <p:spPr>
          <a:xfrm>
            <a:off x="5537674" y="1836541"/>
            <a:ext cx="0" cy="730942"/>
          </a:xfrm>
          <a:prstGeom prst="straightConnector1">
            <a:avLst/>
          </a:prstGeom>
          <a:ln w="38100">
            <a:solidFill>
              <a:schemeClr val="tx2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/>
          <p:cNvCxnSpPr/>
          <p:nvPr/>
        </p:nvCxnSpPr>
        <p:spPr>
          <a:xfrm>
            <a:off x="7204105" y="1802265"/>
            <a:ext cx="512748" cy="479059"/>
          </a:xfrm>
          <a:prstGeom prst="straightConnector1">
            <a:avLst/>
          </a:prstGeom>
          <a:ln w="38100">
            <a:solidFill>
              <a:schemeClr val="tx2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 стрелкой 54"/>
          <p:cNvCxnSpPr/>
          <p:nvPr/>
        </p:nvCxnSpPr>
        <p:spPr>
          <a:xfrm>
            <a:off x="8691073" y="1187577"/>
            <a:ext cx="654313" cy="0"/>
          </a:xfrm>
          <a:prstGeom prst="straightConnector1">
            <a:avLst/>
          </a:prstGeom>
          <a:ln w="38100">
            <a:solidFill>
              <a:schemeClr val="tx2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E44617F0-BDA1-4FC4-9585-CF8925E7F98D}"/>
              </a:ext>
            </a:extLst>
          </p:cNvPr>
          <p:cNvSpPr txBox="1"/>
          <p:nvPr/>
        </p:nvSpPr>
        <p:spPr>
          <a:xfrm>
            <a:off x="78433" y="4990380"/>
            <a:ext cx="1471514" cy="9787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Есть возможность написать отзыв к каждой страничке портфолио</a:t>
            </a:r>
            <a:endParaRPr lang="id-ID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63" name="Прямая со стрелкой 62"/>
          <p:cNvCxnSpPr/>
          <p:nvPr/>
        </p:nvCxnSpPr>
        <p:spPr>
          <a:xfrm flipH="1" flipV="1">
            <a:off x="221076" y="4724925"/>
            <a:ext cx="427290" cy="248364"/>
          </a:xfrm>
          <a:prstGeom prst="straightConnector1">
            <a:avLst/>
          </a:prstGeom>
          <a:ln w="38100">
            <a:solidFill>
              <a:schemeClr val="tx2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xmlns="" id="{E44617F0-BDA1-4FC4-9585-CF8925E7F98D}"/>
              </a:ext>
            </a:extLst>
          </p:cNvPr>
          <p:cNvSpPr txBox="1"/>
          <p:nvPr/>
        </p:nvSpPr>
        <p:spPr>
          <a:xfrm>
            <a:off x="1716070" y="5527033"/>
            <a:ext cx="1676611" cy="7571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Каждой страничкой можно поделиться в социальных сетях</a:t>
            </a:r>
            <a:endParaRPr lang="id-ID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69" name="Прямая со стрелкой 68"/>
          <p:cNvCxnSpPr/>
          <p:nvPr/>
        </p:nvCxnSpPr>
        <p:spPr>
          <a:xfrm flipH="1" flipV="1">
            <a:off x="1906472" y="4561455"/>
            <a:ext cx="384560" cy="918289"/>
          </a:xfrm>
          <a:prstGeom prst="straightConnector1">
            <a:avLst/>
          </a:prstGeom>
          <a:ln w="38100">
            <a:solidFill>
              <a:schemeClr val="tx2">
                <a:lumMod val="50000"/>
                <a:lumOff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xmlns="" id="{E44617F0-BDA1-4FC4-9585-CF8925E7F98D}"/>
              </a:ext>
            </a:extLst>
          </p:cNvPr>
          <p:cNvSpPr txBox="1"/>
          <p:nvPr/>
        </p:nvSpPr>
        <p:spPr>
          <a:xfrm>
            <a:off x="7014462" y="5211979"/>
            <a:ext cx="4389936" cy="9787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 каждой веб-страничке можно разместить не только текст, но и фото, картинки, презентации, </a:t>
            </a:r>
            <a:r>
              <a:rPr lang="en-US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df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-файлы, таблицы, аудио файлы, видео, </a:t>
            </a:r>
            <a:r>
              <a:rPr lang="en-US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google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-документы и многое другое.</a:t>
            </a:r>
            <a:endParaRPr lang="id-ID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126340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8">
            <a:extLst>
              <a:ext uri="{FF2B5EF4-FFF2-40B4-BE49-F238E27FC236}">
                <a16:creationId xmlns="" xmlns:a16="http://schemas.microsoft.com/office/drawing/2014/main" id="{EDE8BBE7-C10F-4027-8FB6-6652D7CFB256}"/>
              </a:ext>
            </a:extLst>
          </p:cNvPr>
          <p:cNvGrpSpPr/>
          <p:nvPr/>
        </p:nvGrpSpPr>
        <p:grpSpPr>
          <a:xfrm>
            <a:off x="110066" y="3632200"/>
            <a:ext cx="3446585" cy="3098585"/>
            <a:chOff x="684358" y="2902022"/>
            <a:chExt cx="3364308" cy="3364307"/>
          </a:xfrm>
          <a:solidFill>
            <a:schemeClr val="bg1">
              <a:lumMod val="95000"/>
            </a:schemeClr>
          </a:solidFill>
        </p:grpSpPr>
        <p:sp>
          <p:nvSpPr>
            <p:cNvPr id="10" name="Freeform 6">
              <a:extLst>
                <a:ext uri="{FF2B5EF4-FFF2-40B4-BE49-F238E27FC236}">
                  <a16:creationId xmlns="" xmlns:a16="http://schemas.microsoft.com/office/drawing/2014/main" id="{B480155A-F358-4508-9A63-BDFD30CD58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358" y="2902022"/>
              <a:ext cx="392746" cy="393856"/>
            </a:xfrm>
            <a:custGeom>
              <a:avLst/>
              <a:gdLst>
                <a:gd name="T0" fmla="*/ 354 w 709"/>
                <a:gd name="T1" fmla="*/ 0 h 709"/>
                <a:gd name="T2" fmla="*/ 709 w 709"/>
                <a:gd name="T3" fmla="*/ 355 h 709"/>
                <a:gd name="T4" fmla="*/ 354 w 709"/>
                <a:gd name="T5" fmla="*/ 709 h 709"/>
                <a:gd name="T6" fmla="*/ 0 w 709"/>
                <a:gd name="T7" fmla="*/ 355 h 709"/>
                <a:gd name="T8" fmla="*/ 354 w 709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09">
                  <a:moveTo>
                    <a:pt x="354" y="0"/>
                  </a:moveTo>
                  <a:lnTo>
                    <a:pt x="709" y="355"/>
                  </a:lnTo>
                  <a:lnTo>
                    <a:pt x="354" y="709"/>
                  </a:lnTo>
                  <a:lnTo>
                    <a:pt x="0" y="355"/>
                  </a:lnTo>
                  <a:lnTo>
                    <a:pt x="3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1" name="Freeform 7">
              <a:extLst>
                <a:ext uri="{FF2B5EF4-FFF2-40B4-BE49-F238E27FC236}">
                  <a16:creationId xmlns="" xmlns:a16="http://schemas.microsoft.com/office/drawing/2014/main" id="{F56B9151-1A2C-41B4-8B66-56C95A7C3F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7308" y="2902022"/>
              <a:ext cx="392746" cy="393856"/>
            </a:xfrm>
            <a:custGeom>
              <a:avLst/>
              <a:gdLst>
                <a:gd name="T0" fmla="*/ 355 w 709"/>
                <a:gd name="T1" fmla="*/ 0 h 709"/>
                <a:gd name="T2" fmla="*/ 709 w 709"/>
                <a:gd name="T3" fmla="*/ 355 h 709"/>
                <a:gd name="T4" fmla="*/ 355 w 709"/>
                <a:gd name="T5" fmla="*/ 709 h 709"/>
                <a:gd name="T6" fmla="*/ 0 w 709"/>
                <a:gd name="T7" fmla="*/ 355 h 709"/>
                <a:gd name="T8" fmla="*/ 355 w 709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09">
                  <a:moveTo>
                    <a:pt x="355" y="0"/>
                  </a:moveTo>
                  <a:lnTo>
                    <a:pt x="709" y="355"/>
                  </a:lnTo>
                  <a:lnTo>
                    <a:pt x="355" y="709"/>
                  </a:lnTo>
                  <a:lnTo>
                    <a:pt x="0" y="355"/>
                  </a:lnTo>
                  <a:lnTo>
                    <a:pt x="3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Freeform 8">
              <a:extLst>
                <a:ext uri="{FF2B5EF4-FFF2-40B4-BE49-F238E27FC236}">
                  <a16:creationId xmlns="" xmlns:a16="http://schemas.microsoft.com/office/drawing/2014/main" id="{93A1F6A9-4B69-4F34-B715-2937BB5709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9149" y="2902022"/>
              <a:ext cx="394964" cy="393856"/>
            </a:xfrm>
            <a:custGeom>
              <a:avLst/>
              <a:gdLst>
                <a:gd name="T0" fmla="*/ 356 w 710"/>
                <a:gd name="T1" fmla="*/ 0 h 709"/>
                <a:gd name="T2" fmla="*/ 710 w 710"/>
                <a:gd name="T3" fmla="*/ 355 h 709"/>
                <a:gd name="T4" fmla="*/ 356 w 710"/>
                <a:gd name="T5" fmla="*/ 709 h 709"/>
                <a:gd name="T6" fmla="*/ 0 w 710"/>
                <a:gd name="T7" fmla="*/ 355 h 709"/>
                <a:gd name="T8" fmla="*/ 356 w 710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0" h="709">
                  <a:moveTo>
                    <a:pt x="356" y="0"/>
                  </a:moveTo>
                  <a:lnTo>
                    <a:pt x="710" y="355"/>
                  </a:lnTo>
                  <a:lnTo>
                    <a:pt x="356" y="709"/>
                  </a:lnTo>
                  <a:lnTo>
                    <a:pt x="0" y="355"/>
                  </a:lnTo>
                  <a:lnTo>
                    <a:pt x="3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3" name="Freeform 9">
              <a:extLst>
                <a:ext uri="{FF2B5EF4-FFF2-40B4-BE49-F238E27FC236}">
                  <a16:creationId xmlns="" xmlns:a16="http://schemas.microsoft.com/office/drawing/2014/main" id="{9EEC207B-771D-4580-BF7C-B4774149A8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1860" y="2902022"/>
              <a:ext cx="393856" cy="393856"/>
            </a:xfrm>
            <a:custGeom>
              <a:avLst/>
              <a:gdLst>
                <a:gd name="T0" fmla="*/ 354 w 709"/>
                <a:gd name="T1" fmla="*/ 0 h 709"/>
                <a:gd name="T2" fmla="*/ 709 w 709"/>
                <a:gd name="T3" fmla="*/ 355 h 709"/>
                <a:gd name="T4" fmla="*/ 354 w 709"/>
                <a:gd name="T5" fmla="*/ 709 h 709"/>
                <a:gd name="T6" fmla="*/ 0 w 709"/>
                <a:gd name="T7" fmla="*/ 355 h 709"/>
                <a:gd name="T8" fmla="*/ 354 w 709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09">
                  <a:moveTo>
                    <a:pt x="354" y="0"/>
                  </a:moveTo>
                  <a:lnTo>
                    <a:pt x="709" y="355"/>
                  </a:lnTo>
                  <a:lnTo>
                    <a:pt x="354" y="709"/>
                  </a:lnTo>
                  <a:lnTo>
                    <a:pt x="0" y="355"/>
                  </a:lnTo>
                  <a:lnTo>
                    <a:pt x="3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4" name="Freeform 10">
              <a:extLst>
                <a:ext uri="{FF2B5EF4-FFF2-40B4-BE49-F238E27FC236}">
                  <a16:creationId xmlns="" xmlns:a16="http://schemas.microsoft.com/office/drawing/2014/main" id="{3B9B678C-2C8C-4A16-A85F-F59565D57F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810" y="2902022"/>
              <a:ext cx="393856" cy="393856"/>
            </a:xfrm>
            <a:custGeom>
              <a:avLst/>
              <a:gdLst>
                <a:gd name="T0" fmla="*/ 354 w 709"/>
                <a:gd name="T1" fmla="*/ 0 h 709"/>
                <a:gd name="T2" fmla="*/ 709 w 709"/>
                <a:gd name="T3" fmla="*/ 355 h 709"/>
                <a:gd name="T4" fmla="*/ 354 w 709"/>
                <a:gd name="T5" fmla="*/ 709 h 709"/>
                <a:gd name="T6" fmla="*/ 0 w 709"/>
                <a:gd name="T7" fmla="*/ 355 h 709"/>
                <a:gd name="T8" fmla="*/ 354 w 709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09">
                  <a:moveTo>
                    <a:pt x="354" y="0"/>
                  </a:moveTo>
                  <a:lnTo>
                    <a:pt x="709" y="355"/>
                  </a:lnTo>
                  <a:lnTo>
                    <a:pt x="354" y="709"/>
                  </a:lnTo>
                  <a:lnTo>
                    <a:pt x="0" y="355"/>
                  </a:lnTo>
                  <a:lnTo>
                    <a:pt x="3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5" name="Freeform 11">
              <a:extLst>
                <a:ext uri="{FF2B5EF4-FFF2-40B4-BE49-F238E27FC236}">
                  <a16:creationId xmlns="" xmlns:a16="http://schemas.microsoft.com/office/drawing/2014/main" id="{DD83276C-0212-4304-8806-4F0381184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358" y="3644972"/>
              <a:ext cx="392746" cy="393856"/>
            </a:xfrm>
            <a:custGeom>
              <a:avLst/>
              <a:gdLst>
                <a:gd name="T0" fmla="*/ 354 w 709"/>
                <a:gd name="T1" fmla="*/ 0 h 709"/>
                <a:gd name="T2" fmla="*/ 709 w 709"/>
                <a:gd name="T3" fmla="*/ 355 h 709"/>
                <a:gd name="T4" fmla="*/ 354 w 709"/>
                <a:gd name="T5" fmla="*/ 709 h 709"/>
                <a:gd name="T6" fmla="*/ 0 w 709"/>
                <a:gd name="T7" fmla="*/ 355 h 709"/>
                <a:gd name="T8" fmla="*/ 354 w 709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09">
                  <a:moveTo>
                    <a:pt x="354" y="0"/>
                  </a:moveTo>
                  <a:lnTo>
                    <a:pt x="709" y="355"/>
                  </a:lnTo>
                  <a:lnTo>
                    <a:pt x="354" y="709"/>
                  </a:lnTo>
                  <a:lnTo>
                    <a:pt x="0" y="355"/>
                  </a:lnTo>
                  <a:lnTo>
                    <a:pt x="3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6" name="Freeform 12">
              <a:extLst>
                <a:ext uri="{FF2B5EF4-FFF2-40B4-BE49-F238E27FC236}">
                  <a16:creationId xmlns="" xmlns:a16="http://schemas.microsoft.com/office/drawing/2014/main" id="{10838888-98DA-4EAB-9BFD-A93AFCAF42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7308" y="3644972"/>
              <a:ext cx="392746" cy="393856"/>
            </a:xfrm>
            <a:custGeom>
              <a:avLst/>
              <a:gdLst>
                <a:gd name="T0" fmla="*/ 355 w 709"/>
                <a:gd name="T1" fmla="*/ 0 h 709"/>
                <a:gd name="T2" fmla="*/ 709 w 709"/>
                <a:gd name="T3" fmla="*/ 355 h 709"/>
                <a:gd name="T4" fmla="*/ 355 w 709"/>
                <a:gd name="T5" fmla="*/ 709 h 709"/>
                <a:gd name="T6" fmla="*/ 0 w 709"/>
                <a:gd name="T7" fmla="*/ 355 h 709"/>
                <a:gd name="T8" fmla="*/ 355 w 709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09">
                  <a:moveTo>
                    <a:pt x="355" y="0"/>
                  </a:moveTo>
                  <a:lnTo>
                    <a:pt x="709" y="355"/>
                  </a:lnTo>
                  <a:lnTo>
                    <a:pt x="355" y="709"/>
                  </a:lnTo>
                  <a:lnTo>
                    <a:pt x="0" y="355"/>
                  </a:lnTo>
                  <a:lnTo>
                    <a:pt x="3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7" name="Freeform 13">
              <a:extLst>
                <a:ext uri="{FF2B5EF4-FFF2-40B4-BE49-F238E27FC236}">
                  <a16:creationId xmlns="" xmlns:a16="http://schemas.microsoft.com/office/drawing/2014/main" id="{C2096ED7-E2C9-4AEC-8D0D-C608F2DB0E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9149" y="3644972"/>
              <a:ext cx="394964" cy="393856"/>
            </a:xfrm>
            <a:custGeom>
              <a:avLst/>
              <a:gdLst>
                <a:gd name="T0" fmla="*/ 356 w 710"/>
                <a:gd name="T1" fmla="*/ 0 h 709"/>
                <a:gd name="T2" fmla="*/ 710 w 710"/>
                <a:gd name="T3" fmla="*/ 355 h 709"/>
                <a:gd name="T4" fmla="*/ 356 w 710"/>
                <a:gd name="T5" fmla="*/ 709 h 709"/>
                <a:gd name="T6" fmla="*/ 0 w 710"/>
                <a:gd name="T7" fmla="*/ 355 h 709"/>
                <a:gd name="T8" fmla="*/ 356 w 710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0" h="709">
                  <a:moveTo>
                    <a:pt x="356" y="0"/>
                  </a:moveTo>
                  <a:lnTo>
                    <a:pt x="710" y="355"/>
                  </a:lnTo>
                  <a:lnTo>
                    <a:pt x="356" y="709"/>
                  </a:lnTo>
                  <a:lnTo>
                    <a:pt x="0" y="355"/>
                  </a:lnTo>
                  <a:lnTo>
                    <a:pt x="3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8" name="Freeform 14">
              <a:extLst>
                <a:ext uri="{FF2B5EF4-FFF2-40B4-BE49-F238E27FC236}">
                  <a16:creationId xmlns="" xmlns:a16="http://schemas.microsoft.com/office/drawing/2014/main" id="{CBA927F9-0206-4A02-A264-E3C7DDCBDEF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1860" y="3644972"/>
              <a:ext cx="393856" cy="393856"/>
            </a:xfrm>
            <a:custGeom>
              <a:avLst/>
              <a:gdLst>
                <a:gd name="T0" fmla="*/ 354 w 709"/>
                <a:gd name="T1" fmla="*/ 0 h 709"/>
                <a:gd name="T2" fmla="*/ 709 w 709"/>
                <a:gd name="T3" fmla="*/ 355 h 709"/>
                <a:gd name="T4" fmla="*/ 354 w 709"/>
                <a:gd name="T5" fmla="*/ 709 h 709"/>
                <a:gd name="T6" fmla="*/ 0 w 709"/>
                <a:gd name="T7" fmla="*/ 355 h 709"/>
                <a:gd name="T8" fmla="*/ 354 w 709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09">
                  <a:moveTo>
                    <a:pt x="354" y="0"/>
                  </a:moveTo>
                  <a:lnTo>
                    <a:pt x="709" y="355"/>
                  </a:lnTo>
                  <a:lnTo>
                    <a:pt x="354" y="709"/>
                  </a:lnTo>
                  <a:lnTo>
                    <a:pt x="0" y="355"/>
                  </a:lnTo>
                  <a:lnTo>
                    <a:pt x="3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9" name="Freeform 15">
              <a:extLst>
                <a:ext uri="{FF2B5EF4-FFF2-40B4-BE49-F238E27FC236}">
                  <a16:creationId xmlns="" xmlns:a16="http://schemas.microsoft.com/office/drawing/2014/main" id="{06A41D9A-1E36-4D85-926C-1341A017E1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810" y="3644972"/>
              <a:ext cx="393856" cy="393856"/>
            </a:xfrm>
            <a:custGeom>
              <a:avLst/>
              <a:gdLst>
                <a:gd name="T0" fmla="*/ 354 w 709"/>
                <a:gd name="T1" fmla="*/ 0 h 709"/>
                <a:gd name="T2" fmla="*/ 709 w 709"/>
                <a:gd name="T3" fmla="*/ 355 h 709"/>
                <a:gd name="T4" fmla="*/ 354 w 709"/>
                <a:gd name="T5" fmla="*/ 709 h 709"/>
                <a:gd name="T6" fmla="*/ 0 w 709"/>
                <a:gd name="T7" fmla="*/ 355 h 709"/>
                <a:gd name="T8" fmla="*/ 354 w 709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09">
                  <a:moveTo>
                    <a:pt x="354" y="0"/>
                  </a:moveTo>
                  <a:lnTo>
                    <a:pt x="709" y="355"/>
                  </a:lnTo>
                  <a:lnTo>
                    <a:pt x="354" y="709"/>
                  </a:lnTo>
                  <a:lnTo>
                    <a:pt x="0" y="355"/>
                  </a:lnTo>
                  <a:lnTo>
                    <a:pt x="3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0" name="Freeform 16">
              <a:extLst>
                <a:ext uri="{FF2B5EF4-FFF2-40B4-BE49-F238E27FC236}">
                  <a16:creationId xmlns="" xmlns:a16="http://schemas.microsoft.com/office/drawing/2014/main" id="{C9DC4ED4-6DE1-4292-B005-AF13206D9A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358" y="4386574"/>
              <a:ext cx="392746" cy="394964"/>
            </a:xfrm>
            <a:custGeom>
              <a:avLst/>
              <a:gdLst>
                <a:gd name="T0" fmla="*/ 354 w 709"/>
                <a:gd name="T1" fmla="*/ 0 h 710"/>
                <a:gd name="T2" fmla="*/ 709 w 709"/>
                <a:gd name="T3" fmla="*/ 354 h 710"/>
                <a:gd name="T4" fmla="*/ 354 w 709"/>
                <a:gd name="T5" fmla="*/ 710 h 710"/>
                <a:gd name="T6" fmla="*/ 0 w 709"/>
                <a:gd name="T7" fmla="*/ 354 h 710"/>
                <a:gd name="T8" fmla="*/ 354 w 709"/>
                <a:gd name="T9" fmla="*/ 0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10">
                  <a:moveTo>
                    <a:pt x="354" y="0"/>
                  </a:moveTo>
                  <a:lnTo>
                    <a:pt x="709" y="354"/>
                  </a:lnTo>
                  <a:lnTo>
                    <a:pt x="354" y="710"/>
                  </a:lnTo>
                  <a:lnTo>
                    <a:pt x="0" y="354"/>
                  </a:lnTo>
                  <a:lnTo>
                    <a:pt x="3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1" name="Freeform 17">
              <a:extLst>
                <a:ext uri="{FF2B5EF4-FFF2-40B4-BE49-F238E27FC236}">
                  <a16:creationId xmlns="" xmlns:a16="http://schemas.microsoft.com/office/drawing/2014/main" id="{4B1362F0-4939-46C5-93FF-5E4CF21222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7308" y="4386574"/>
              <a:ext cx="392746" cy="394964"/>
            </a:xfrm>
            <a:custGeom>
              <a:avLst/>
              <a:gdLst>
                <a:gd name="T0" fmla="*/ 355 w 709"/>
                <a:gd name="T1" fmla="*/ 0 h 710"/>
                <a:gd name="T2" fmla="*/ 709 w 709"/>
                <a:gd name="T3" fmla="*/ 354 h 710"/>
                <a:gd name="T4" fmla="*/ 355 w 709"/>
                <a:gd name="T5" fmla="*/ 710 h 710"/>
                <a:gd name="T6" fmla="*/ 0 w 709"/>
                <a:gd name="T7" fmla="*/ 354 h 710"/>
                <a:gd name="T8" fmla="*/ 355 w 709"/>
                <a:gd name="T9" fmla="*/ 0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10">
                  <a:moveTo>
                    <a:pt x="355" y="0"/>
                  </a:moveTo>
                  <a:lnTo>
                    <a:pt x="709" y="354"/>
                  </a:lnTo>
                  <a:lnTo>
                    <a:pt x="355" y="710"/>
                  </a:lnTo>
                  <a:lnTo>
                    <a:pt x="0" y="354"/>
                  </a:lnTo>
                  <a:lnTo>
                    <a:pt x="3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Freeform 18">
              <a:extLst>
                <a:ext uri="{FF2B5EF4-FFF2-40B4-BE49-F238E27FC236}">
                  <a16:creationId xmlns="" xmlns:a16="http://schemas.microsoft.com/office/drawing/2014/main" id="{98A2C7FF-56E6-429E-A5AE-77A272F7DE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9149" y="4386574"/>
              <a:ext cx="394964" cy="394964"/>
            </a:xfrm>
            <a:custGeom>
              <a:avLst/>
              <a:gdLst>
                <a:gd name="T0" fmla="*/ 356 w 710"/>
                <a:gd name="T1" fmla="*/ 0 h 710"/>
                <a:gd name="T2" fmla="*/ 710 w 710"/>
                <a:gd name="T3" fmla="*/ 354 h 710"/>
                <a:gd name="T4" fmla="*/ 356 w 710"/>
                <a:gd name="T5" fmla="*/ 710 h 710"/>
                <a:gd name="T6" fmla="*/ 0 w 710"/>
                <a:gd name="T7" fmla="*/ 354 h 710"/>
                <a:gd name="T8" fmla="*/ 356 w 710"/>
                <a:gd name="T9" fmla="*/ 0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0" h="710">
                  <a:moveTo>
                    <a:pt x="356" y="0"/>
                  </a:moveTo>
                  <a:lnTo>
                    <a:pt x="710" y="354"/>
                  </a:lnTo>
                  <a:lnTo>
                    <a:pt x="356" y="710"/>
                  </a:lnTo>
                  <a:lnTo>
                    <a:pt x="0" y="354"/>
                  </a:lnTo>
                  <a:lnTo>
                    <a:pt x="3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19">
              <a:extLst>
                <a:ext uri="{FF2B5EF4-FFF2-40B4-BE49-F238E27FC236}">
                  <a16:creationId xmlns="" xmlns:a16="http://schemas.microsoft.com/office/drawing/2014/main" id="{7FF8D71C-6D5E-4759-B132-A1105626DE1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1860" y="4386574"/>
              <a:ext cx="393856" cy="394964"/>
            </a:xfrm>
            <a:custGeom>
              <a:avLst/>
              <a:gdLst>
                <a:gd name="T0" fmla="*/ 354 w 709"/>
                <a:gd name="T1" fmla="*/ 0 h 710"/>
                <a:gd name="T2" fmla="*/ 709 w 709"/>
                <a:gd name="T3" fmla="*/ 354 h 710"/>
                <a:gd name="T4" fmla="*/ 354 w 709"/>
                <a:gd name="T5" fmla="*/ 710 h 710"/>
                <a:gd name="T6" fmla="*/ 0 w 709"/>
                <a:gd name="T7" fmla="*/ 354 h 710"/>
                <a:gd name="T8" fmla="*/ 354 w 709"/>
                <a:gd name="T9" fmla="*/ 0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10">
                  <a:moveTo>
                    <a:pt x="354" y="0"/>
                  </a:moveTo>
                  <a:lnTo>
                    <a:pt x="709" y="354"/>
                  </a:lnTo>
                  <a:lnTo>
                    <a:pt x="354" y="710"/>
                  </a:lnTo>
                  <a:lnTo>
                    <a:pt x="0" y="354"/>
                  </a:lnTo>
                  <a:lnTo>
                    <a:pt x="3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4" name="Freeform 20">
              <a:extLst>
                <a:ext uri="{FF2B5EF4-FFF2-40B4-BE49-F238E27FC236}">
                  <a16:creationId xmlns="" xmlns:a16="http://schemas.microsoft.com/office/drawing/2014/main" id="{0D5893E5-36B2-48D2-A39C-AC85AB74AB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810" y="4386574"/>
              <a:ext cx="393856" cy="394964"/>
            </a:xfrm>
            <a:custGeom>
              <a:avLst/>
              <a:gdLst>
                <a:gd name="T0" fmla="*/ 354 w 709"/>
                <a:gd name="T1" fmla="*/ 0 h 710"/>
                <a:gd name="T2" fmla="*/ 709 w 709"/>
                <a:gd name="T3" fmla="*/ 354 h 710"/>
                <a:gd name="T4" fmla="*/ 354 w 709"/>
                <a:gd name="T5" fmla="*/ 710 h 710"/>
                <a:gd name="T6" fmla="*/ 0 w 709"/>
                <a:gd name="T7" fmla="*/ 354 h 710"/>
                <a:gd name="T8" fmla="*/ 354 w 709"/>
                <a:gd name="T9" fmla="*/ 0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10">
                  <a:moveTo>
                    <a:pt x="354" y="0"/>
                  </a:moveTo>
                  <a:lnTo>
                    <a:pt x="709" y="354"/>
                  </a:lnTo>
                  <a:lnTo>
                    <a:pt x="354" y="710"/>
                  </a:lnTo>
                  <a:lnTo>
                    <a:pt x="0" y="354"/>
                  </a:lnTo>
                  <a:lnTo>
                    <a:pt x="3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5" name="Freeform 21">
              <a:extLst>
                <a:ext uri="{FF2B5EF4-FFF2-40B4-BE49-F238E27FC236}">
                  <a16:creationId xmlns="" xmlns:a16="http://schemas.microsoft.com/office/drawing/2014/main" id="{7DA5A5EE-7EAE-45CA-9647-FC1E19D879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358" y="5130633"/>
              <a:ext cx="392746" cy="392746"/>
            </a:xfrm>
            <a:custGeom>
              <a:avLst/>
              <a:gdLst>
                <a:gd name="T0" fmla="*/ 354 w 709"/>
                <a:gd name="T1" fmla="*/ 0 h 709"/>
                <a:gd name="T2" fmla="*/ 709 w 709"/>
                <a:gd name="T3" fmla="*/ 354 h 709"/>
                <a:gd name="T4" fmla="*/ 354 w 709"/>
                <a:gd name="T5" fmla="*/ 709 h 709"/>
                <a:gd name="T6" fmla="*/ 0 w 709"/>
                <a:gd name="T7" fmla="*/ 354 h 709"/>
                <a:gd name="T8" fmla="*/ 354 w 709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09">
                  <a:moveTo>
                    <a:pt x="354" y="0"/>
                  </a:moveTo>
                  <a:lnTo>
                    <a:pt x="709" y="354"/>
                  </a:lnTo>
                  <a:lnTo>
                    <a:pt x="354" y="709"/>
                  </a:lnTo>
                  <a:lnTo>
                    <a:pt x="0" y="354"/>
                  </a:lnTo>
                  <a:lnTo>
                    <a:pt x="3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6" name="Freeform 22">
              <a:extLst>
                <a:ext uri="{FF2B5EF4-FFF2-40B4-BE49-F238E27FC236}">
                  <a16:creationId xmlns="" xmlns:a16="http://schemas.microsoft.com/office/drawing/2014/main" id="{1667286F-DCD7-49A5-AEFF-EF71D38C5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7308" y="5130633"/>
              <a:ext cx="392746" cy="392746"/>
            </a:xfrm>
            <a:custGeom>
              <a:avLst/>
              <a:gdLst>
                <a:gd name="T0" fmla="*/ 355 w 709"/>
                <a:gd name="T1" fmla="*/ 0 h 709"/>
                <a:gd name="T2" fmla="*/ 709 w 709"/>
                <a:gd name="T3" fmla="*/ 354 h 709"/>
                <a:gd name="T4" fmla="*/ 355 w 709"/>
                <a:gd name="T5" fmla="*/ 709 h 709"/>
                <a:gd name="T6" fmla="*/ 0 w 709"/>
                <a:gd name="T7" fmla="*/ 354 h 709"/>
                <a:gd name="T8" fmla="*/ 355 w 709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09">
                  <a:moveTo>
                    <a:pt x="355" y="0"/>
                  </a:moveTo>
                  <a:lnTo>
                    <a:pt x="709" y="354"/>
                  </a:lnTo>
                  <a:lnTo>
                    <a:pt x="355" y="709"/>
                  </a:lnTo>
                  <a:lnTo>
                    <a:pt x="0" y="354"/>
                  </a:lnTo>
                  <a:lnTo>
                    <a:pt x="3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7" name="Freeform 23">
              <a:extLst>
                <a:ext uri="{FF2B5EF4-FFF2-40B4-BE49-F238E27FC236}">
                  <a16:creationId xmlns="" xmlns:a16="http://schemas.microsoft.com/office/drawing/2014/main" id="{2D85EA24-0D2F-429E-90C0-B4638AB185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9149" y="5130633"/>
              <a:ext cx="394964" cy="392746"/>
            </a:xfrm>
            <a:custGeom>
              <a:avLst/>
              <a:gdLst>
                <a:gd name="T0" fmla="*/ 356 w 710"/>
                <a:gd name="T1" fmla="*/ 0 h 709"/>
                <a:gd name="T2" fmla="*/ 710 w 710"/>
                <a:gd name="T3" fmla="*/ 354 h 709"/>
                <a:gd name="T4" fmla="*/ 356 w 710"/>
                <a:gd name="T5" fmla="*/ 709 h 709"/>
                <a:gd name="T6" fmla="*/ 0 w 710"/>
                <a:gd name="T7" fmla="*/ 354 h 709"/>
                <a:gd name="T8" fmla="*/ 356 w 710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0" h="709">
                  <a:moveTo>
                    <a:pt x="356" y="0"/>
                  </a:moveTo>
                  <a:lnTo>
                    <a:pt x="710" y="354"/>
                  </a:lnTo>
                  <a:lnTo>
                    <a:pt x="356" y="709"/>
                  </a:lnTo>
                  <a:lnTo>
                    <a:pt x="0" y="354"/>
                  </a:lnTo>
                  <a:lnTo>
                    <a:pt x="3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8" name="Freeform 24">
              <a:extLst>
                <a:ext uri="{FF2B5EF4-FFF2-40B4-BE49-F238E27FC236}">
                  <a16:creationId xmlns="" xmlns:a16="http://schemas.microsoft.com/office/drawing/2014/main" id="{B2697655-C98D-4373-9E6E-FF6008AA614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1860" y="5130633"/>
              <a:ext cx="393856" cy="392746"/>
            </a:xfrm>
            <a:custGeom>
              <a:avLst/>
              <a:gdLst>
                <a:gd name="T0" fmla="*/ 354 w 709"/>
                <a:gd name="T1" fmla="*/ 0 h 709"/>
                <a:gd name="T2" fmla="*/ 709 w 709"/>
                <a:gd name="T3" fmla="*/ 354 h 709"/>
                <a:gd name="T4" fmla="*/ 354 w 709"/>
                <a:gd name="T5" fmla="*/ 709 h 709"/>
                <a:gd name="T6" fmla="*/ 0 w 709"/>
                <a:gd name="T7" fmla="*/ 354 h 709"/>
                <a:gd name="T8" fmla="*/ 354 w 709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09">
                  <a:moveTo>
                    <a:pt x="354" y="0"/>
                  </a:moveTo>
                  <a:lnTo>
                    <a:pt x="709" y="354"/>
                  </a:lnTo>
                  <a:lnTo>
                    <a:pt x="354" y="709"/>
                  </a:lnTo>
                  <a:lnTo>
                    <a:pt x="0" y="354"/>
                  </a:lnTo>
                  <a:lnTo>
                    <a:pt x="3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9" name="Freeform 25">
              <a:extLst>
                <a:ext uri="{FF2B5EF4-FFF2-40B4-BE49-F238E27FC236}">
                  <a16:creationId xmlns="" xmlns:a16="http://schemas.microsoft.com/office/drawing/2014/main" id="{15230624-E8F1-4C88-A182-5E028E10C6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810" y="5130633"/>
              <a:ext cx="393856" cy="392746"/>
            </a:xfrm>
            <a:custGeom>
              <a:avLst/>
              <a:gdLst>
                <a:gd name="T0" fmla="*/ 354 w 709"/>
                <a:gd name="T1" fmla="*/ 0 h 709"/>
                <a:gd name="T2" fmla="*/ 709 w 709"/>
                <a:gd name="T3" fmla="*/ 354 h 709"/>
                <a:gd name="T4" fmla="*/ 354 w 709"/>
                <a:gd name="T5" fmla="*/ 709 h 709"/>
                <a:gd name="T6" fmla="*/ 0 w 709"/>
                <a:gd name="T7" fmla="*/ 354 h 709"/>
                <a:gd name="T8" fmla="*/ 354 w 709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09">
                  <a:moveTo>
                    <a:pt x="354" y="0"/>
                  </a:moveTo>
                  <a:lnTo>
                    <a:pt x="709" y="354"/>
                  </a:lnTo>
                  <a:lnTo>
                    <a:pt x="354" y="709"/>
                  </a:lnTo>
                  <a:lnTo>
                    <a:pt x="0" y="354"/>
                  </a:lnTo>
                  <a:lnTo>
                    <a:pt x="3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0" name="Freeform 26">
              <a:extLst>
                <a:ext uri="{FF2B5EF4-FFF2-40B4-BE49-F238E27FC236}">
                  <a16:creationId xmlns="" xmlns:a16="http://schemas.microsoft.com/office/drawing/2014/main" id="{F537C74C-CD2B-427F-A1A6-FB53F4602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358" y="5873583"/>
              <a:ext cx="392746" cy="392746"/>
            </a:xfrm>
            <a:custGeom>
              <a:avLst/>
              <a:gdLst>
                <a:gd name="T0" fmla="*/ 354 w 709"/>
                <a:gd name="T1" fmla="*/ 0 h 709"/>
                <a:gd name="T2" fmla="*/ 709 w 709"/>
                <a:gd name="T3" fmla="*/ 355 h 709"/>
                <a:gd name="T4" fmla="*/ 354 w 709"/>
                <a:gd name="T5" fmla="*/ 709 h 709"/>
                <a:gd name="T6" fmla="*/ 0 w 709"/>
                <a:gd name="T7" fmla="*/ 355 h 709"/>
                <a:gd name="T8" fmla="*/ 354 w 709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09">
                  <a:moveTo>
                    <a:pt x="354" y="0"/>
                  </a:moveTo>
                  <a:lnTo>
                    <a:pt x="709" y="355"/>
                  </a:lnTo>
                  <a:lnTo>
                    <a:pt x="354" y="709"/>
                  </a:lnTo>
                  <a:lnTo>
                    <a:pt x="0" y="355"/>
                  </a:lnTo>
                  <a:lnTo>
                    <a:pt x="3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27">
              <a:extLst>
                <a:ext uri="{FF2B5EF4-FFF2-40B4-BE49-F238E27FC236}">
                  <a16:creationId xmlns="" xmlns:a16="http://schemas.microsoft.com/office/drawing/2014/main" id="{338C2B8F-9071-473F-ACB1-15EF324B7B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7308" y="5873583"/>
              <a:ext cx="392746" cy="392746"/>
            </a:xfrm>
            <a:custGeom>
              <a:avLst/>
              <a:gdLst>
                <a:gd name="T0" fmla="*/ 355 w 709"/>
                <a:gd name="T1" fmla="*/ 0 h 709"/>
                <a:gd name="T2" fmla="*/ 709 w 709"/>
                <a:gd name="T3" fmla="*/ 355 h 709"/>
                <a:gd name="T4" fmla="*/ 355 w 709"/>
                <a:gd name="T5" fmla="*/ 709 h 709"/>
                <a:gd name="T6" fmla="*/ 0 w 709"/>
                <a:gd name="T7" fmla="*/ 355 h 709"/>
                <a:gd name="T8" fmla="*/ 355 w 709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09">
                  <a:moveTo>
                    <a:pt x="355" y="0"/>
                  </a:moveTo>
                  <a:lnTo>
                    <a:pt x="709" y="355"/>
                  </a:lnTo>
                  <a:lnTo>
                    <a:pt x="355" y="709"/>
                  </a:lnTo>
                  <a:lnTo>
                    <a:pt x="0" y="355"/>
                  </a:lnTo>
                  <a:lnTo>
                    <a:pt x="3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28">
              <a:extLst>
                <a:ext uri="{FF2B5EF4-FFF2-40B4-BE49-F238E27FC236}">
                  <a16:creationId xmlns="" xmlns:a16="http://schemas.microsoft.com/office/drawing/2014/main" id="{473C3D6A-32D5-4F8F-B945-AE98D781A81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9149" y="5873583"/>
              <a:ext cx="394964" cy="392746"/>
            </a:xfrm>
            <a:custGeom>
              <a:avLst/>
              <a:gdLst>
                <a:gd name="T0" fmla="*/ 356 w 710"/>
                <a:gd name="T1" fmla="*/ 0 h 709"/>
                <a:gd name="T2" fmla="*/ 710 w 710"/>
                <a:gd name="T3" fmla="*/ 355 h 709"/>
                <a:gd name="T4" fmla="*/ 356 w 710"/>
                <a:gd name="T5" fmla="*/ 709 h 709"/>
                <a:gd name="T6" fmla="*/ 0 w 710"/>
                <a:gd name="T7" fmla="*/ 355 h 709"/>
                <a:gd name="T8" fmla="*/ 356 w 710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10" h="709">
                  <a:moveTo>
                    <a:pt x="356" y="0"/>
                  </a:moveTo>
                  <a:lnTo>
                    <a:pt x="710" y="355"/>
                  </a:lnTo>
                  <a:lnTo>
                    <a:pt x="356" y="709"/>
                  </a:lnTo>
                  <a:lnTo>
                    <a:pt x="0" y="355"/>
                  </a:lnTo>
                  <a:lnTo>
                    <a:pt x="3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3" name="Freeform 29">
              <a:extLst>
                <a:ext uri="{FF2B5EF4-FFF2-40B4-BE49-F238E27FC236}">
                  <a16:creationId xmlns="" xmlns:a16="http://schemas.microsoft.com/office/drawing/2014/main" id="{DE6C0AA1-A37D-45A3-8F25-67F293CAC1C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1860" y="5873583"/>
              <a:ext cx="393856" cy="392746"/>
            </a:xfrm>
            <a:custGeom>
              <a:avLst/>
              <a:gdLst>
                <a:gd name="T0" fmla="*/ 354 w 709"/>
                <a:gd name="T1" fmla="*/ 0 h 709"/>
                <a:gd name="T2" fmla="*/ 709 w 709"/>
                <a:gd name="T3" fmla="*/ 355 h 709"/>
                <a:gd name="T4" fmla="*/ 354 w 709"/>
                <a:gd name="T5" fmla="*/ 709 h 709"/>
                <a:gd name="T6" fmla="*/ 0 w 709"/>
                <a:gd name="T7" fmla="*/ 355 h 709"/>
                <a:gd name="T8" fmla="*/ 354 w 709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09">
                  <a:moveTo>
                    <a:pt x="354" y="0"/>
                  </a:moveTo>
                  <a:lnTo>
                    <a:pt x="709" y="355"/>
                  </a:lnTo>
                  <a:lnTo>
                    <a:pt x="354" y="709"/>
                  </a:lnTo>
                  <a:lnTo>
                    <a:pt x="0" y="355"/>
                  </a:lnTo>
                  <a:lnTo>
                    <a:pt x="3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4" name="Freeform 30">
              <a:extLst>
                <a:ext uri="{FF2B5EF4-FFF2-40B4-BE49-F238E27FC236}">
                  <a16:creationId xmlns="" xmlns:a16="http://schemas.microsoft.com/office/drawing/2014/main" id="{378B9049-100E-4A19-9F7F-FC64F6899C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810" y="5873583"/>
              <a:ext cx="393856" cy="392746"/>
            </a:xfrm>
            <a:custGeom>
              <a:avLst/>
              <a:gdLst>
                <a:gd name="T0" fmla="*/ 354 w 709"/>
                <a:gd name="T1" fmla="*/ 0 h 709"/>
                <a:gd name="T2" fmla="*/ 709 w 709"/>
                <a:gd name="T3" fmla="*/ 355 h 709"/>
                <a:gd name="T4" fmla="*/ 354 w 709"/>
                <a:gd name="T5" fmla="*/ 709 h 709"/>
                <a:gd name="T6" fmla="*/ 0 w 709"/>
                <a:gd name="T7" fmla="*/ 355 h 709"/>
                <a:gd name="T8" fmla="*/ 354 w 709"/>
                <a:gd name="T9" fmla="*/ 0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9" h="709">
                  <a:moveTo>
                    <a:pt x="354" y="0"/>
                  </a:moveTo>
                  <a:lnTo>
                    <a:pt x="709" y="355"/>
                  </a:lnTo>
                  <a:lnTo>
                    <a:pt x="354" y="709"/>
                  </a:lnTo>
                  <a:lnTo>
                    <a:pt x="0" y="355"/>
                  </a:lnTo>
                  <a:lnTo>
                    <a:pt x="3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DDBE3BDD-65EC-4F0C-A85F-17B31E0EFA85}"/>
              </a:ext>
            </a:extLst>
          </p:cNvPr>
          <p:cNvSpPr txBox="1"/>
          <p:nvPr/>
        </p:nvSpPr>
        <p:spPr>
          <a:xfrm>
            <a:off x="499533" y="430242"/>
            <a:ext cx="5858934" cy="2123656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/>
            <a:r>
              <a:rPr lang="ru-RU" sz="4400" b="1" dirty="0">
                <a:solidFill>
                  <a:schemeClr val="accent2">
                    <a:lumMod val="75000"/>
                  </a:schemeClr>
                </a:solidFill>
                <a:latin typeface="+mj-lt"/>
                <a:cs typeface="Arial" pitchFamily="34" charset="0"/>
              </a:rPr>
              <a:t>Веб-портфолио </a:t>
            </a:r>
            <a:endParaRPr lang="ru-RU" sz="4400" b="1" dirty="0" smtClean="0">
              <a:solidFill>
                <a:schemeClr val="accent2">
                  <a:lumMod val="75000"/>
                </a:schemeClr>
              </a:solidFill>
              <a:latin typeface="+mj-lt"/>
              <a:cs typeface="Arial" pitchFamily="34" charset="0"/>
            </a:endParaRPr>
          </a:p>
          <a:p>
            <a:pPr algn="ctr"/>
            <a:r>
              <a:rPr lang="ru-RU" sz="4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itchFamily="34" charset="0"/>
              </a:rPr>
              <a:t>новое </a:t>
            </a:r>
            <a:r>
              <a:rPr lang="ru-RU" sz="4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Arial" pitchFamily="34" charset="0"/>
              </a:rPr>
              <a:t>решение в поиске работы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2191" y="18219"/>
            <a:ext cx="5581783" cy="68397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12681633"/>
      </p:ext>
    </p:extLst>
  </p:cSld>
  <p:clrMapOvr>
    <a:masterClrMapping/>
  </p:clrMapOvr>
  <p:transition spd="slow" advClick="0" advTm="5000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125835" y="1442906"/>
            <a:ext cx="11920756" cy="5327010"/>
          </a:xfrm>
        </p:spPr>
        <p:txBody>
          <a:bodyPr>
            <a:noAutofit/>
          </a:bodyPr>
          <a:lstStyle/>
          <a:p>
            <a:pPr marL="268288" indent="-268288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en-US" sz="1000" dirty="0" err="1"/>
              <a:t>Panyukova</a:t>
            </a:r>
            <a:r>
              <a:rPr lang="en-US" sz="1000" dirty="0"/>
              <a:t> S.V. </a:t>
            </a:r>
            <a:r>
              <a:rPr lang="en-US" sz="1000" b="1" dirty="0"/>
              <a:t>Didactic Potential of Web Portfolio: Theory and </a:t>
            </a:r>
            <a:r>
              <a:rPr lang="en-US" sz="1000" b="1" dirty="0" smtClean="0"/>
              <a:t>Practice.</a:t>
            </a:r>
            <a:r>
              <a:rPr lang="ru-RU" sz="1000" b="1" dirty="0" smtClean="0"/>
              <a:t> </a:t>
            </a:r>
            <a:r>
              <a:rPr lang="en-US" sz="1000" dirty="0" smtClean="0"/>
              <a:t>SLET-2019</a:t>
            </a:r>
            <a:r>
              <a:rPr lang="en-US" sz="1000" dirty="0"/>
              <a:t>: Innovative approaches to the application of digital technologies in education and research, Stavropol, Russia, 2019</a:t>
            </a:r>
            <a:endParaRPr lang="ru-RU" sz="1000" dirty="0"/>
          </a:p>
          <a:p>
            <a:pPr marL="268288" indent="-268288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1000" dirty="0"/>
              <a:t>Панюкова С.В. </a:t>
            </a:r>
            <a:r>
              <a:rPr lang="ru-RU" sz="1000" b="1" dirty="0"/>
              <a:t>Портфолио студента с инвалидностью как индикатор его конкурентоспособности</a:t>
            </a:r>
            <a:r>
              <a:rPr lang="ru-RU" sz="1000" dirty="0"/>
              <a:t>/ В сборнике: Образование: молодежь, конкурентоспособность Сборник докладов Международной научно-практической конференции, приуроченной к 80-летнему юбилею академика Российской академии образования, доктора философских наук, профессора Г.Ф. Шафранова-</a:t>
            </a:r>
            <a:r>
              <a:rPr lang="ru-RU" sz="1000" dirty="0" err="1"/>
              <a:t>Куцева</a:t>
            </a:r>
            <a:r>
              <a:rPr lang="ru-RU" sz="1000" dirty="0"/>
              <a:t>. 2018. С. 226-229. </a:t>
            </a:r>
          </a:p>
          <a:p>
            <a:pPr marL="268288" indent="-268288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1000" dirty="0"/>
              <a:t>Панюкова С.В. </a:t>
            </a:r>
            <a:r>
              <a:rPr lang="ru-RU" sz="1000" b="1" dirty="0"/>
              <a:t>Веб-портфолио студента в цифровой информационно-образовательной среде вуза</a:t>
            </a:r>
            <a:r>
              <a:rPr lang="ru-RU" sz="1000" dirty="0"/>
              <a:t>/ В сборнике: Информатизация непрерывного образования - 2018 материалы Международной научной конференции: в 2 т.. под общ. ред. В. В. </a:t>
            </a:r>
            <a:r>
              <a:rPr lang="ru-RU" sz="1000" dirty="0" err="1"/>
              <a:t>Гриншкуна</a:t>
            </a:r>
            <a:r>
              <a:rPr lang="ru-RU" sz="1000" dirty="0"/>
              <a:t>. Москва, 2018. С. 649-653. </a:t>
            </a:r>
          </a:p>
          <a:p>
            <a:pPr marL="268288" indent="-268288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1000" dirty="0"/>
              <a:t>Панюкова С.В.  </a:t>
            </a:r>
            <a:r>
              <a:rPr lang="ru-RU" sz="1000" b="1" dirty="0"/>
              <a:t>Портфолио студента, выпускника, профессионала</a:t>
            </a:r>
            <a:r>
              <a:rPr lang="ru-RU" sz="1000" dirty="0"/>
              <a:t>/  В сборнике: Совершенствование системы профессионального физкультурного образования и повышение квалификации специалистов по физической культуре и спорту в рамках реализации федеральной целевой программы развития образования НА 2016-2020 ГОДЫ материалы Всероссийской научно-практической конференции, посвященной 85-летию Удмуртского государственного университета. 2016. С. 79-82. 	</a:t>
            </a:r>
          </a:p>
          <a:p>
            <a:pPr marL="268288" indent="-268288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1000" dirty="0"/>
              <a:t>Панюкова С.В.  </a:t>
            </a:r>
            <a:r>
              <a:rPr lang="ru-RU" sz="1000" b="1" dirty="0"/>
              <a:t>Цели создания и использования веб-портфолио студента</a:t>
            </a:r>
            <a:r>
              <a:rPr lang="ru-RU" sz="1000" dirty="0"/>
              <a:t>/ В сборнике: Методы обучения и организация учебного процесса в вузе Материалы </a:t>
            </a:r>
            <a:r>
              <a:rPr lang="en-US" sz="1000" dirty="0"/>
              <a:t>IV</a:t>
            </a:r>
            <a:r>
              <a:rPr lang="ru-RU" sz="1000" dirty="0"/>
              <a:t> Всероссийской научно-методической конференции. 2015. С. 372-374. </a:t>
            </a:r>
          </a:p>
          <a:p>
            <a:pPr marL="268288" indent="-268288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1000" dirty="0"/>
              <a:t>Панюкова С.В.  </a:t>
            </a:r>
            <a:r>
              <a:rPr lang="ru-RU" sz="1000" b="1" dirty="0"/>
              <a:t>Веб-портфолио в высшей школе: проблемы и решения </a:t>
            </a:r>
            <a:r>
              <a:rPr lang="ru-RU" sz="1000" dirty="0"/>
              <a:t>/ В сборнике: </a:t>
            </a:r>
            <a:r>
              <a:rPr lang="en-US" sz="1000" dirty="0"/>
              <a:t>Web</a:t>
            </a:r>
            <a:r>
              <a:rPr lang="ru-RU" sz="1000" dirty="0"/>
              <a:t>-технологии в образовательном пространстве: проблемы, подходы, перспективы сборник статей участников Международной научно-практической конференции. Под общей редакцией С.В. </a:t>
            </a:r>
            <a:r>
              <a:rPr lang="ru-RU" sz="1000" dirty="0" err="1"/>
              <a:t>Арюткиной</a:t>
            </a:r>
            <a:r>
              <a:rPr lang="ru-RU" sz="1000" dirty="0"/>
              <a:t>, С.В. </a:t>
            </a:r>
            <a:r>
              <a:rPr lang="ru-RU" sz="1000" dirty="0" err="1"/>
              <a:t>Напалкова</a:t>
            </a:r>
            <a:r>
              <a:rPr lang="ru-RU" sz="1000" dirty="0"/>
              <a:t>; </a:t>
            </a:r>
            <a:r>
              <a:rPr lang="ru-RU" sz="1000" dirty="0" err="1"/>
              <a:t>Арзамасский</a:t>
            </a:r>
            <a:r>
              <a:rPr lang="ru-RU" sz="1000" dirty="0"/>
              <a:t> филиал федерального государственного автономного образовательного учреждения высшего образования "Национальный исследовательский Нижегородский государственный университет им. Н.И. Лобачевского". 2015. С. 474-477. 	</a:t>
            </a:r>
          </a:p>
          <a:p>
            <a:pPr marL="268288" indent="-268288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1000" dirty="0"/>
              <a:t>Панюкова С.В. </a:t>
            </a:r>
            <a:r>
              <a:rPr lang="ru-RU" sz="1000" b="1" dirty="0"/>
              <a:t>Веб-портфолио как инструмент карьерного роста </a:t>
            </a:r>
            <a:r>
              <a:rPr lang="ru-RU" sz="1000" dirty="0"/>
              <a:t>/ В сборнике: Информационное общество и актуальные проблемы экономических, гуманитарных, правовых и естественных наук Материалы </a:t>
            </a:r>
            <a:r>
              <a:rPr lang="en-US" sz="1000" dirty="0"/>
              <a:t>X</a:t>
            </a:r>
            <a:r>
              <a:rPr lang="ru-RU" sz="1000" dirty="0"/>
              <a:t> Международной научно-практической конференции. Министерство образования и науки Российской Федерации, Международный образовательный консорциум "Электронный университет", Федеральное государственное бюджетное образовательное учреждение высшего профессионального образования "Московский государственный университет экономики, статистики и информатики (МЭСИ)" Рязанский филиал. 2014. С. 123-126. </a:t>
            </a:r>
          </a:p>
          <a:p>
            <a:pPr marL="268288" indent="-268288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1000" dirty="0"/>
              <a:t>Панюкова С.В. </a:t>
            </a:r>
            <a:r>
              <a:rPr lang="ru-RU" sz="1000" b="1" dirty="0"/>
              <a:t>Размещение веб-портфолио студента в информационно-образовательной среде вуза</a:t>
            </a:r>
            <a:r>
              <a:rPr lang="ru-RU" sz="1000" dirty="0"/>
              <a:t>. / Материалы международной конференции, ФДПО ЯГПУ им. К.Д. Ушинского, Ярославль 2015 г.</a:t>
            </a:r>
          </a:p>
          <a:p>
            <a:pPr marL="268288" indent="-268288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1000" dirty="0" err="1"/>
              <a:t>Гостин</a:t>
            </a:r>
            <a:r>
              <a:rPr lang="ru-RU" sz="1000" dirty="0"/>
              <a:t> А.М., Панюкова С.В. </a:t>
            </a:r>
            <a:r>
              <a:rPr lang="ru-RU" sz="1000" b="1" dirty="0"/>
              <a:t>Создание и ведение карьерного веб-портфолио студента. </a:t>
            </a:r>
            <a:r>
              <a:rPr lang="ru-RU" sz="1000" dirty="0"/>
              <a:t>/ Высшее образование в России. Изд-во МГУП, № 4. 2014 г. С. 126-130</a:t>
            </a:r>
          </a:p>
          <a:p>
            <a:pPr marL="268288" indent="-268288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1000" dirty="0"/>
              <a:t>Панюкова С.В.  </a:t>
            </a:r>
            <a:r>
              <a:rPr lang="ru-RU" sz="1000" b="1" dirty="0"/>
              <a:t>Использование технологии портфолио в образовательном процессе </a:t>
            </a:r>
            <a:r>
              <a:rPr lang="ru-RU" sz="1000" dirty="0"/>
              <a:t>/ Вестник образования России. 2014. № 2. С. 66-76.</a:t>
            </a:r>
          </a:p>
          <a:p>
            <a:pPr marL="268288" indent="-268288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1000" dirty="0"/>
              <a:t>Панюкова С.В. </a:t>
            </a:r>
            <a:r>
              <a:rPr lang="ru-RU" sz="1000" b="1" dirty="0"/>
              <a:t>Облачные сервисы для ведения портфолио и организации персонального пространства студента </a:t>
            </a:r>
            <a:r>
              <a:rPr lang="ru-RU" sz="1000" dirty="0"/>
              <a:t>/ Ученые записки ИСГЗ. 2014. Т. 12. № 1-1. С. 319-323. </a:t>
            </a:r>
          </a:p>
          <a:p>
            <a:pPr marL="268288" indent="-268288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1000" dirty="0" err="1"/>
              <a:t>Авилкина</a:t>
            </a:r>
            <a:r>
              <a:rPr lang="ru-RU" sz="1000" dirty="0"/>
              <a:t> С.В., </a:t>
            </a:r>
            <a:r>
              <a:rPr lang="ru-RU" sz="1000" dirty="0" err="1"/>
              <a:t>Гостин</a:t>
            </a:r>
            <a:r>
              <a:rPr lang="ru-RU" sz="1000" dirty="0"/>
              <a:t> А.М., Панюкова С.В. </a:t>
            </a:r>
            <a:r>
              <a:rPr lang="ru-RU" sz="1000" b="1" dirty="0"/>
              <a:t>Управление человеческим капиталом в условиях информационного общества</a:t>
            </a:r>
            <a:r>
              <a:rPr lang="ru-RU" sz="1000" dirty="0"/>
              <a:t>/ Вестник УМО МЭСИ № 1-2014</a:t>
            </a:r>
          </a:p>
          <a:p>
            <a:pPr marL="268288" indent="-268288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1000" dirty="0" err="1"/>
              <a:t>Гостин</a:t>
            </a:r>
            <a:r>
              <a:rPr lang="ru-RU" sz="1000" dirty="0"/>
              <a:t> А.М., Панюкова С.В.,  Самохина Н.В. </a:t>
            </a:r>
            <a:r>
              <a:rPr lang="ru-RU" sz="1000" b="1" dirty="0"/>
              <a:t>Интерактивное веб-портфолио студента: структура и содержание.  </a:t>
            </a:r>
            <a:r>
              <a:rPr lang="ru-RU" sz="1000" dirty="0"/>
              <a:t>//Журнал  "Информатика и образование", изд-во "Образование и информатика", - М, 2013 № 10(249). С. 83-87.</a:t>
            </a:r>
          </a:p>
          <a:p>
            <a:pPr marL="268288" indent="-268288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1000" dirty="0"/>
              <a:t>Панюкова С.В., </a:t>
            </a:r>
            <a:r>
              <a:rPr lang="ru-RU" sz="1000" dirty="0" err="1"/>
              <a:t>Гостин</a:t>
            </a:r>
            <a:r>
              <a:rPr lang="ru-RU" sz="1000" dirty="0"/>
              <a:t> А.М., Самохина Н.В., Сапрыкин А.Н.  </a:t>
            </a:r>
            <a:r>
              <a:rPr lang="ru-RU" sz="1000" b="1" dirty="0"/>
              <a:t>Инструментарий Веб 2.0 для создания и ведения портфолио. </a:t>
            </a:r>
            <a:r>
              <a:rPr lang="ru-RU" sz="1000" dirty="0"/>
              <a:t>// Журнал  "Информатика и образование", изд-во "Образование и информатика", - М, 2013 № 10(249). С. 64-68.</a:t>
            </a:r>
          </a:p>
          <a:p>
            <a:pPr marL="268288" indent="-268288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1000" dirty="0"/>
              <a:t>Панюкова С.В., </a:t>
            </a:r>
            <a:r>
              <a:rPr lang="ru-RU" sz="1000" dirty="0" err="1"/>
              <a:t>Гостин</a:t>
            </a:r>
            <a:r>
              <a:rPr lang="ru-RU" sz="1000" dirty="0"/>
              <a:t> А.М., Самохина Н.В.  </a:t>
            </a:r>
            <a:r>
              <a:rPr lang="ru-RU" sz="1000" b="1" dirty="0"/>
              <a:t>О проекте создания социальной сети 4</a:t>
            </a:r>
            <a:r>
              <a:rPr lang="en-US" sz="1000" b="1" dirty="0"/>
              <a:t>portfolio</a:t>
            </a:r>
            <a:r>
              <a:rPr lang="ru-RU" sz="1000" b="1" dirty="0"/>
              <a:t>.</a:t>
            </a:r>
            <a:r>
              <a:rPr lang="en-US" sz="1000" b="1" dirty="0" err="1"/>
              <a:t>ru</a:t>
            </a:r>
            <a:r>
              <a:rPr lang="ru-RU" sz="1000" b="1" dirty="0"/>
              <a:t> для ведения веб-портфолио </a:t>
            </a:r>
            <a:r>
              <a:rPr lang="ru-RU" sz="1000" dirty="0"/>
              <a:t>/ В сборнике: Инновация в образовании. Современная психология в обучении /Материалы </a:t>
            </a:r>
            <a:r>
              <a:rPr lang="en-US" sz="1000" dirty="0"/>
              <a:t>II</a:t>
            </a:r>
            <a:r>
              <a:rPr lang="ru-RU" sz="1000" dirty="0"/>
              <a:t> Международной научной конференции: В 2 томах. 2013. С. 59-60. </a:t>
            </a:r>
          </a:p>
          <a:p>
            <a:pPr marL="268288" indent="-268288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1000" dirty="0"/>
              <a:t>Панюкова С.В., Есенина Н.Е. </a:t>
            </a:r>
            <a:r>
              <a:rPr lang="ru-RU" sz="1000" b="1" dirty="0"/>
              <a:t>Электронный портфолио ученика</a:t>
            </a:r>
            <a:r>
              <a:rPr lang="ru-RU" sz="1000" dirty="0"/>
              <a:t> / Информатика и образование. 2007. № 2. С. 85-86</a:t>
            </a:r>
            <a:r>
              <a:rPr lang="ru-RU" sz="1000" dirty="0" smtClean="0"/>
              <a:t>.</a:t>
            </a:r>
            <a:endParaRPr lang="ru-RU" altLang="ru-RU" sz="1000" dirty="0">
              <a:solidFill>
                <a:schemeClr val="accent4">
                  <a:lumMod val="75000"/>
                </a:schemeClr>
              </a:solidFill>
              <a:cs typeface="Arial" charset="0"/>
            </a:endParaRPr>
          </a:p>
        </p:txBody>
      </p:sp>
      <p:sp>
        <p:nvSpPr>
          <p:cNvPr id="8195" name="Заголовок 2"/>
          <p:cNvSpPr>
            <a:spLocks noGrp="1"/>
          </p:cNvSpPr>
          <p:nvPr>
            <p:ph type="title"/>
          </p:nvPr>
        </p:nvSpPr>
        <p:spPr>
          <a:xfrm>
            <a:off x="592668" y="410634"/>
            <a:ext cx="10989734" cy="626533"/>
          </a:xfrm>
        </p:spPr>
        <p:txBody>
          <a:bodyPr>
            <a:noAutofit/>
          </a:bodyPr>
          <a:lstStyle/>
          <a:p>
            <a:pPr algn="ctr"/>
            <a:r>
              <a:rPr lang="ru-RU" altLang="ru-RU" sz="2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РОССИЙСКИЕ И МЕЖДУНАРОДНЫЕ НАУЧНЫЕ ПУБЛИКАЦИИ КОЛЛЕКТИВА </a:t>
            </a:r>
            <a:endParaRPr kumimoji="0" lang="ru-RU" altLang="ru-RU" sz="28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5867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23">
            <a:extLst>
              <a:ext uri="{FF2B5EF4-FFF2-40B4-BE49-F238E27FC236}"/>
            </a:extLst>
          </p:cNvPr>
          <p:cNvSpPr/>
          <p:nvPr/>
        </p:nvSpPr>
        <p:spPr>
          <a:xfrm flipH="1">
            <a:off x="6603998" y="-19050"/>
            <a:ext cx="1430868" cy="6915150"/>
          </a:xfrm>
          <a:prstGeom prst="rect">
            <a:avLst/>
          </a:prstGeom>
          <a:solidFill>
            <a:schemeClr val="bg2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id-ID" sz="12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32" name="Rectangle 23">
            <a:extLst>
              <a:ext uri="{FF2B5EF4-FFF2-40B4-BE49-F238E27FC236}"/>
            </a:extLst>
          </p:cNvPr>
          <p:cNvSpPr/>
          <p:nvPr/>
        </p:nvSpPr>
        <p:spPr>
          <a:xfrm flipH="1">
            <a:off x="-21491" y="3175"/>
            <a:ext cx="1473199" cy="6915150"/>
          </a:xfrm>
          <a:prstGeom prst="rect">
            <a:avLst/>
          </a:prstGeom>
          <a:solidFill>
            <a:schemeClr val="bg2">
              <a:lumMod val="20000"/>
              <a:lumOff val="80000"/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id-ID" sz="12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33" name="TextBox 32">
            <a:extLst>
              <a:ext uri="{FF2B5EF4-FFF2-40B4-BE49-F238E27FC236}"/>
            </a:extLst>
          </p:cNvPr>
          <p:cNvSpPr txBox="1"/>
          <p:nvPr/>
        </p:nvSpPr>
        <p:spPr>
          <a:xfrm>
            <a:off x="1512275" y="3839350"/>
            <a:ext cx="5023992" cy="1354829"/>
          </a:xfrm>
          <a:prstGeom prst="rect">
            <a:avLst/>
          </a:prstGeom>
          <a:noFill/>
        </p:spPr>
        <p:txBody>
          <a:bodyPr wrap="square" lIns="107287" tIns="53643" rIns="107287" bIns="53643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Зам. директора, разработчик, дизайнер, администратор и модератор </a:t>
            </a:r>
            <a:r>
              <a:rPr lang="ru-RU" sz="12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портала.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1200" dirty="0" smtClean="0">
              <a:solidFill>
                <a:srgbClr val="000000">
                  <a:lumMod val="65000"/>
                  <a:lumOff val="35000"/>
                </a:srgbClr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Исполнитель  нескольких ИТ – проектов в области создания  сайтов и образовательных порталов, администрирования порталов и сайтов , опыт выполнения НИР и НИОКР, разработка ИТ решений в рамках грантов </a:t>
            </a:r>
            <a:r>
              <a:rPr lang="ru-RU" sz="9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РГНФ, </a:t>
            </a:r>
            <a:r>
              <a:rPr lang="ru-RU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РФФИ, </a:t>
            </a:r>
            <a:r>
              <a:rPr lang="ru-RU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Госзаданий</a:t>
            </a:r>
            <a:r>
              <a:rPr lang="ru-RU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,  </a:t>
            </a:r>
            <a:r>
              <a:rPr lang="ru-RU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Госконтрактов</a:t>
            </a:r>
            <a:r>
              <a:rPr lang="ru-RU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и др. Опыт </a:t>
            </a:r>
            <a:r>
              <a:rPr lang="ru-RU" sz="9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работы  руководителем </a:t>
            </a:r>
            <a:r>
              <a:rPr lang="ru-RU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отдела  Центра  новых информационных технологий  Рязанского государственного радиотехнического </a:t>
            </a:r>
            <a:r>
              <a:rPr lang="ru-RU" sz="9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университета (более 14 лет). </a:t>
            </a:r>
            <a:endParaRPr lang="ru-RU" sz="9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34" name="TextBox 33">
            <a:extLst>
              <a:ext uri="{FF2B5EF4-FFF2-40B4-BE49-F238E27FC236}"/>
            </a:extLst>
          </p:cNvPr>
          <p:cNvSpPr txBox="1"/>
          <p:nvPr/>
        </p:nvSpPr>
        <p:spPr>
          <a:xfrm>
            <a:off x="1594332" y="3215798"/>
            <a:ext cx="5279305" cy="539750"/>
          </a:xfrm>
          <a:prstGeom prst="rect">
            <a:avLst/>
          </a:prstGeom>
          <a:noFill/>
        </p:spPr>
        <p:txBody>
          <a:bodyPr wrap="square" lIns="107287" tIns="53643" rIns="107287" bIns="53643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Самохина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Наталья Владимировна</a:t>
            </a:r>
          </a:p>
        </p:txBody>
      </p:sp>
      <p:sp>
        <p:nvSpPr>
          <p:cNvPr id="35" name="TextBox 34">
            <a:extLst>
              <a:ext uri="{FF2B5EF4-FFF2-40B4-BE49-F238E27FC236}"/>
            </a:extLst>
          </p:cNvPr>
          <p:cNvSpPr txBox="1"/>
          <p:nvPr/>
        </p:nvSpPr>
        <p:spPr>
          <a:xfrm>
            <a:off x="8161976" y="2946758"/>
            <a:ext cx="3893666" cy="1077830"/>
          </a:xfrm>
          <a:prstGeom prst="rect">
            <a:avLst/>
          </a:prstGeom>
          <a:noFill/>
        </p:spPr>
        <p:txBody>
          <a:bodyPr wrap="square" lIns="107287" tIns="53643" rIns="107287" bIns="53643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Исполнитель  нескольких ИТ – проектов в области создания  сайтов и образовательных порталов, администрирования </a:t>
            </a:r>
            <a:r>
              <a:rPr lang="ru-RU" sz="9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порталов и </a:t>
            </a:r>
            <a:r>
              <a:rPr lang="ru-RU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сайтов , опыт выполнения НИР и </a:t>
            </a:r>
            <a:r>
              <a:rPr lang="ru-RU" sz="9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НИОКР, разработка ИТ решений в </a:t>
            </a:r>
            <a:r>
              <a:rPr lang="ru-RU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рамках грантов </a:t>
            </a:r>
            <a:r>
              <a:rPr lang="ru-RU" sz="9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РГНФ, </a:t>
            </a:r>
            <a:r>
              <a:rPr lang="ru-RU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РФФИ, </a:t>
            </a:r>
            <a:r>
              <a:rPr lang="ru-RU" sz="900" dirty="0" err="1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Госзаданий</a:t>
            </a:r>
            <a:r>
              <a:rPr lang="ru-RU" sz="9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,  </a:t>
            </a:r>
            <a:r>
              <a:rPr lang="ru-RU" sz="900" dirty="0" err="1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Госконтрактов</a:t>
            </a:r>
            <a:r>
              <a:rPr lang="ru-RU" sz="9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 и </a:t>
            </a:r>
            <a:r>
              <a:rPr lang="ru-RU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др. </a:t>
            </a:r>
            <a:r>
              <a:rPr lang="ru-RU" sz="9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Доцент кафедры САПР, Инженер </a:t>
            </a:r>
            <a:r>
              <a:rPr lang="ru-RU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Центра новых информационных технологий  Рязанского государственного радиотехнического университета. </a:t>
            </a:r>
          </a:p>
        </p:txBody>
      </p:sp>
      <p:sp>
        <p:nvSpPr>
          <p:cNvPr id="37" name="TextBox 36">
            <a:extLst>
              <a:ext uri="{FF2B5EF4-FFF2-40B4-BE49-F238E27FC236}"/>
            </a:extLst>
          </p:cNvPr>
          <p:cNvSpPr txBox="1"/>
          <p:nvPr/>
        </p:nvSpPr>
        <p:spPr>
          <a:xfrm>
            <a:off x="1613552" y="5819344"/>
            <a:ext cx="3863403" cy="477666"/>
          </a:xfrm>
          <a:prstGeom prst="rect">
            <a:avLst/>
          </a:prstGeom>
          <a:noFill/>
        </p:spPr>
        <p:txBody>
          <a:bodyPr wrap="square" lIns="107287" tIns="53643" rIns="107287" bIns="53643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Руководитель отдела программирования и </a:t>
            </a:r>
            <a:r>
              <a:rPr lang="ru-RU" sz="12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маркетинга.</a:t>
            </a:r>
            <a:endParaRPr lang="ru-RU" sz="12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38" name="TextBox 37">
            <a:extLst>
              <a:ext uri="{FF2B5EF4-FFF2-40B4-BE49-F238E27FC236}"/>
            </a:extLst>
          </p:cNvPr>
          <p:cNvSpPr txBox="1"/>
          <p:nvPr/>
        </p:nvSpPr>
        <p:spPr>
          <a:xfrm>
            <a:off x="1613552" y="5274936"/>
            <a:ext cx="3963714" cy="539750"/>
          </a:xfrm>
          <a:prstGeom prst="rect">
            <a:avLst/>
          </a:prstGeom>
          <a:noFill/>
        </p:spPr>
        <p:txBody>
          <a:bodyPr wrap="square" lIns="107287" tIns="53643" rIns="107287" bIns="53643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Фадеева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Любовь Викторовна</a:t>
            </a:r>
          </a:p>
        </p:txBody>
      </p:sp>
      <p:sp>
        <p:nvSpPr>
          <p:cNvPr id="40" name="TextBox 39">
            <a:extLst>
              <a:ext uri="{FF2B5EF4-FFF2-40B4-BE49-F238E27FC236}"/>
            </a:extLst>
          </p:cNvPr>
          <p:cNvSpPr txBox="1"/>
          <p:nvPr/>
        </p:nvSpPr>
        <p:spPr>
          <a:xfrm>
            <a:off x="2173486" y="32808"/>
            <a:ext cx="3892062" cy="569999"/>
          </a:xfrm>
          <a:prstGeom prst="rect">
            <a:avLst/>
          </a:prstGeom>
          <a:noFill/>
        </p:spPr>
        <p:txBody>
          <a:bodyPr lIns="107287" tIns="53643" rIns="107287" bIns="53643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3000" b="1" dirty="0">
                <a:solidFill>
                  <a:srgbClr val="A40000"/>
                </a:solidFill>
                <a:latin typeface="+mj-lt"/>
                <a:ea typeface="+mj-ea"/>
                <a:cs typeface="+mj-cs"/>
              </a:rPr>
              <a:t>Наша команда </a:t>
            </a:r>
            <a:endParaRPr lang="id-ID" sz="3000" b="1" dirty="0">
              <a:solidFill>
                <a:srgbClr val="A4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1" name="TextBox 40">
            <a:extLst>
              <a:ext uri="{FF2B5EF4-FFF2-40B4-BE49-F238E27FC236}"/>
            </a:extLst>
          </p:cNvPr>
          <p:cNvSpPr txBox="1"/>
          <p:nvPr/>
        </p:nvSpPr>
        <p:spPr>
          <a:xfrm>
            <a:off x="1533764" y="1549403"/>
            <a:ext cx="5070234" cy="1677994"/>
          </a:xfrm>
          <a:prstGeom prst="rect">
            <a:avLst/>
          </a:prstGeom>
          <a:noFill/>
        </p:spPr>
        <p:txBody>
          <a:bodyPr wrap="square" lIns="107287" tIns="53643" rIns="107287" bIns="53643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Основатель, научный руководитель проекта,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доктор педагогических наук, профессор, лауреат премии Правительства РФ в области образования</a:t>
            </a:r>
            <a:r>
              <a:rPr lang="ru-RU" sz="12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.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1200" dirty="0">
              <a:solidFill>
                <a:srgbClr val="000000">
                  <a:lumMod val="65000"/>
                  <a:lumOff val="35000"/>
                </a:srgbClr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Опыт реализации ИТ- проектов в должности проректора по информатизации, исполнителя и руководителя проектов по грантам </a:t>
            </a:r>
            <a:r>
              <a:rPr lang="ru-RU" sz="9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РГНФ, </a:t>
            </a:r>
            <a:r>
              <a:rPr lang="ru-RU" sz="900" dirty="0" err="1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Госзаданий</a:t>
            </a:r>
            <a:r>
              <a:rPr lang="ru-RU" sz="9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 и </a:t>
            </a:r>
            <a:r>
              <a:rPr lang="ru-RU" sz="900" dirty="0" err="1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Госконтрактов</a:t>
            </a:r>
            <a:r>
              <a:rPr lang="ru-RU" sz="9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. Работа  </a:t>
            </a:r>
            <a:r>
              <a:rPr lang="ru-RU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в должности руководителя научной лаборатории  Института  информатизации образования РАО. Автор более </a:t>
            </a:r>
            <a:r>
              <a:rPr lang="ru-RU" sz="9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140 </a:t>
            </a:r>
            <a:r>
              <a:rPr lang="ru-RU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публикаций по проблемам информатизации образования и образовательных инноваций. Профессор </a:t>
            </a:r>
            <a:r>
              <a:rPr lang="ru-RU" sz="9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по кафедре Информатики и ВТ, опыт работы в международных проектах, в том числе в Институте Юнеско. </a:t>
            </a:r>
            <a:endParaRPr lang="ru-RU" sz="9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42" name="TextBox 41">
            <a:extLst>
              <a:ext uri="{FF2B5EF4-FFF2-40B4-BE49-F238E27FC236}"/>
            </a:extLst>
          </p:cNvPr>
          <p:cNvSpPr txBox="1"/>
          <p:nvPr/>
        </p:nvSpPr>
        <p:spPr>
          <a:xfrm>
            <a:off x="1615820" y="1009653"/>
            <a:ext cx="4730277" cy="539750"/>
          </a:xfrm>
          <a:prstGeom prst="rect">
            <a:avLst/>
          </a:prstGeom>
          <a:noFill/>
        </p:spPr>
        <p:txBody>
          <a:bodyPr wrap="square" lIns="107287" tIns="53643" rIns="107287" bIns="53643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Панюкова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Светлана Валерьевна</a:t>
            </a:r>
            <a:endParaRPr lang="id-ID" sz="1400" b="1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44" name="Рисунок 15" descr="SamohinaN.JPG"/>
          <p:cNvPicPr>
            <a:picLocks noChangeAspect="1"/>
          </p:cNvPicPr>
          <p:nvPr/>
        </p:nvPicPr>
        <p:blipFill>
          <a:blip r:embed="rId3"/>
          <a:srcRect b="5852"/>
          <a:stretch>
            <a:fillRect/>
          </a:stretch>
        </p:blipFill>
        <p:spPr bwMode="auto">
          <a:xfrm>
            <a:off x="239967" y="3253256"/>
            <a:ext cx="1141402" cy="1323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45" name="Рисунок 46" descr="GostinA-мин.jpeg"/>
          <p:cNvPicPr>
            <a:picLocks noChangeAspect="1"/>
          </p:cNvPicPr>
          <p:nvPr/>
        </p:nvPicPr>
        <p:blipFill rotWithShape="1">
          <a:blip r:embed="rId4"/>
          <a:srcRect l="7268" t="2452" r="19382" b="6644"/>
          <a:stretch/>
        </p:blipFill>
        <p:spPr bwMode="auto">
          <a:xfrm>
            <a:off x="6774696" y="4222293"/>
            <a:ext cx="1146936" cy="1430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46" name="TextBox 45">
            <a:extLst>
              <a:ext uri="{FF2B5EF4-FFF2-40B4-BE49-F238E27FC236}"/>
            </a:extLst>
          </p:cNvPr>
          <p:cNvSpPr txBox="1"/>
          <p:nvPr/>
        </p:nvSpPr>
        <p:spPr>
          <a:xfrm>
            <a:off x="8257867" y="4120640"/>
            <a:ext cx="4140201" cy="538162"/>
          </a:xfrm>
          <a:prstGeom prst="rect">
            <a:avLst/>
          </a:prstGeom>
          <a:noFill/>
        </p:spPr>
        <p:txBody>
          <a:bodyPr lIns="107287" tIns="53643" rIns="107287" bIns="53643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Гостин</a:t>
            </a:r>
            <a:r>
              <a:rPr lang="ru-RU" sz="14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Алексей Михайлович</a:t>
            </a:r>
          </a:p>
        </p:txBody>
      </p:sp>
      <p:sp>
        <p:nvSpPr>
          <p:cNvPr id="47" name="TextBox 46">
            <a:extLst>
              <a:ext uri="{FF2B5EF4-FFF2-40B4-BE49-F238E27FC236}"/>
            </a:extLst>
          </p:cNvPr>
          <p:cNvSpPr txBox="1"/>
          <p:nvPr/>
        </p:nvSpPr>
        <p:spPr>
          <a:xfrm>
            <a:off x="8257869" y="4712112"/>
            <a:ext cx="3849122" cy="661987"/>
          </a:xfrm>
          <a:prstGeom prst="rect">
            <a:avLst/>
          </a:prstGeom>
          <a:noFill/>
        </p:spPr>
        <p:txBody>
          <a:bodyPr wrap="square" lIns="107287" tIns="53643" rIns="107287" bIns="53643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Руководитель отдела технической поддержки, кандидат технических наук, доцент, эксперт </a:t>
            </a:r>
            <a:r>
              <a:rPr lang="ru-RU" sz="1200" dirty="0" err="1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Рособрнадзора</a:t>
            </a:r>
            <a:r>
              <a:rPr lang="ru-RU" sz="12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.</a:t>
            </a:r>
            <a:endParaRPr lang="ru-RU" sz="12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48" name="Picture 24" descr="Люба"/>
          <p:cNvPicPr>
            <a:picLocks noChangeAspect="1" noChangeArrowheads="1"/>
          </p:cNvPicPr>
          <p:nvPr/>
        </p:nvPicPr>
        <p:blipFill rotWithShape="1">
          <a:blip r:embed="rId5"/>
          <a:srcRect l="7102" r="10370"/>
          <a:stretch/>
        </p:blipFill>
        <p:spPr bwMode="auto">
          <a:xfrm>
            <a:off x="220746" y="5207558"/>
            <a:ext cx="1179841" cy="1472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49" name="Рисунок 45" descr="ПЮН.png"/>
          <p:cNvPicPr>
            <a:picLocks noChangeAspect="1"/>
          </p:cNvPicPr>
          <p:nvPr/>
        </p:nvPicPr>
        <p:blipFill rotWithShape="1">
          <a:blip r:embed="rId6"/>
          <a:srcRect l="19673"/>
          <a:stretch/>
        </p:blipFill>
        <p:spPr bwMode="auto">
          <a:xfrm>
            <a:off x="6831078" y="375183"/>
            <a:ext cx="1094090" cy="1455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50" name="TextBox 49">
            <a:extLst>
              <a:ext uri="{FF2B5EF4-FFF2-40B4-BE49-F238E27FC236}"/>
            </a:extLst>
          </p:cNvPr>
          <p:cNvSpPr txBox="1"/>
          <p:nvPr/>
        </p:nvSpPr>
        <p:spPr>
          <a:xfrm>
            <a:off x="8119099" y="358253"/>
            <a:ext cx="4323514" cy="539750"/>
          </a:xfrm>
          <a:prstGeom prst="rect">
            <a:avLst/>
          </a:prstGeom>
          <a:noFill/>
        </p:spPr>
        <p:txBody>
          <a:bodyPr wrap="square" lIns="107287" tIns="53643" rIns="107287" bIns="53643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Панюков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Юрий Николаевич</a:t>
            </a:r>
            <a:endParaRPr lang="id-ID" sz="1400" b="1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51" name="TextBox 50">
            <a:extLst>
              <a:ext uri="{FF2B5EF4-FFF2-40B4-BE49-F238E27FC236}"/>
            </a:extLst>
          </p:cNvPr>
          <p:cNvSpPr txBox="1"/>
          <p:nvPr/>
        </p:nvSpPr>
        <p:spPr>
          <a:xfrm>
            <a:off x="8222134" y="1009653"/>
            <a:ext cx="4117445" cy="293687"/>
          </a:xfrm>
          <a:prstGeom prst="rect">
            <a:avLst/>
          </a:prstGeom>
          <a:noFill/>
        </p:spPr>
        <p:txBody>
          <a:bodyPr wrap="square" lIns="107287" tIns="53643" rIns="107287" bIns="53643">
            <a:spAutoFit/>
          </a:bodyPr>
          <a:lstStyle/>
          <a:p>
            <a:pPr defTabSz="79027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Генеральный директор</a:t>
            </a:r>
          </a:p>
        </p:txBody>
      </p:sp>
      <p:pic>
        <p:nvPicPr>
          <p:cNvPr id="17430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80" r="15134"/>
          <a:stretch>
            <a:fillRect/>
          </a:stretch>
        </p:blipFill>
        <p:spPr bwMode="auto">
          <a:xfrm>
            <a:off x="203997" y="1114428"/>
            <a:ext cx="1177372" cy="134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25" descr="saprikin"/>
          <p:cNvPicPr>
            <a:picLocks noChangeAspect="1" noChangeArrowheads="1"/>
          </p:cNvPicPr>
          <p:nvPr/>
        </p:nvPicPr>
        <p:blipFill rotWithShape="1">
          <a:blip r:embed="rId8"/>
          <a:srcRect b="6155"/>
          <a:stretch/>
        </p:blipFill>
        <p:spPr bwMode="auto">
          <a:xfrm>
            <a:off x="6790307" y="2260149"/>
            <a:ext cx="1131325" cy="14148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4" name="TextBox 23">
            <a:extLst>
              <a:ext uri="{FF2B5EF4-FFF2-40B4-BE49-F238E27FC236}"/>
            </a:extLst>
          </p:cNvPr>
          <p:cNvSpPr txBox="1"/>
          <p:nvPr/>
        </p:nvSpPr>
        <p:spPr>
          <a:xfrm>
            <a:off x="8197712" y="2489905"/>
            <a:ext cx="3934130" cy="477666"/>
          </a:xfrm>
          <a:prstGeom prst="rect">
            <a:avLst/>
          </a:prstGeom>
          <a:noFill/>
        </p:spPr>
        <p:txBody>
          <a:bodyPr wrap="square" lIns="107287" tIns="53643" rIns="107287" bIns="53643">
            <a:spAutoFit/>
          </a:bodyPr>
          <a:lstStyle/>
          <a:p>
            <a:pPr defTabSz="79027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Разработчик, администратор и модератор портала 4portfolio.ru. </a:t>
            </a:r>
            <a:r>
              <a:rPr lang="ru-RU" sz="12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 Кандидат </a:t>
            </a:r>
            <a:r>
              <a:rPr lang="ru-RU" sz="12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технических наук. </a:t>
            </a:r>
          </a:p>
        </p:txBody>
      </p:sp>
      <p:sp>
        <p:nvSpPr>
          <p:cNvPr id="25" name="TextBox 24">
            <a:extLst>
              <a:ext uri="{FF2B5EF4-FFF2-40B4-BE49-F238E27FC236}"/>
            </a:extLst>
          </p:cNvPr>
          <p:cNvSpPr txBox="1"/>
          <p:nvPr/>
        </p:nvSpPr>
        <p:spPr>
          <a:xfrm>
            <a:off x="8242256" y="1921407"/>
            <a:ext cx="4140199" cy="539221"/>
          </a:xfrm>
          <a:prstGeom prst="rect">
            <a:avLst/>
          </a:prstGeom>
          <a:noFill/>
        </p:spPr>
        <p:txBody>
          <a:bodyPr lIns="107287" tIns="53643" rIns="107287" bIns="53643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Сапрыкин </a:t>
            </a:r>
            <a:endParaRPr lang="ru-RU" sz="1400" b="1" dirty="0" smtClean="0">
              <a:solidFill>
                <a:srgbClr val="000000">
                  <a:lumMod val="65000"/>
                  <a:lumOff val="35000"/>
                </a:srgbClr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Алексей </a:t>
            </a:r>
            <a:r>
              <a:rPr lang="ru-RU" sz="1400" b="1" dirty="0">
                <a:solidFill>
                  <a:srgbClr val="000000">
                    <a:lumMod val="65000"/>
                    <a:lumOff val="35000"/>
                  </a:srgbClr>
                </a:solidFill>
              </a:rPr>
              <a:t>Николаевич</a:t>
            </a:r>
          </a:p>
        </p:txBody>
      </p:sp>
      <p:sp>
        <p:nvSpPr>
          <p:cNvPr id="26" name="TextBox 25">
            <a:extLst>
              <a:ext uri="{FF2B5EF4-FFF2-40B4-BE49-F238E27FC236}"/>
            </a:extLst>
          </p:cNvPr>
          <p:cNvSpPr txBox="1"/>
          <p:nvPr/>
        </p:nvSpPr>
        <p:spPr>
          <a:xfrm>
            <a:off x="8213325" y="5393414"/>
            <a:ext cx="3893666" cy="1077830"/>
          </a:xfrm>
          <a:prstGeom prst="rect">
            <a:avLst/>
          </a:prstGeom>
          <a:noFill/>
        </p:spPr>
        <p:txBody>
          <a:bodyPr wrap="square" lIns="107287" tIns="53643" rIns="107287" bIns="53643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Руководитель и исполнитель  нескольких ИТ – проектов в области создания  сайтов и образовательных порталов, администрирования порталов и сайтов , опыт выполнения НИР и НИОКР, разработка ИТ решений в рамках грантов </a:t>
            </a:r>
            <a:r>
              <a:rPr lang="ru-RU" sz="9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РГНФ, </a:t>
            </a:r>
            <a:r>
              <a:rPr lang="ru-RU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РФФИ, </a:t>
            </a:r>
            <a:r>
              <a:rPr lang="ru-RU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Госзаданий</a:t>
            </a:r>
            <a:r>
              <a:rPr lang="ru-RU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,  </a:t>
            </a:r>
            <a:r>
              <a:rPr lang="ru-RU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Госконтрактов</a:t>
            </a:r>
            <a:r>
              <a:rPr lang="ru-RU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и др. Директор Центра новых информационных технологий  Рязанского государственного радиотехнического университета. </a:t>
            </a:r>
          </a:p>
        </p:txBody>
      </p:sp>
      <p:sp>
        <p:nvSpPr>
          <p:cNvPr id="27" name="TextBox 26">
            <a:extLst>
              <a:ext uri="{FF2B5EF4-FFF2-40B4-BE49-F238E27FC236}"/>
            </a:extLst>
          </p:cNvPr>
          <p:cNvSpPr txBox="1"/>
          <p:nvPr/>
        </p:nvSpPr>
        <p:spPr>
          <a:xfrm>
            <a:off x="8222134" y="1355102"/>
            <a:ext cx="3893666" cy="385333"/>
          </a:xfrm>
          <a:prstGeom prst="rect">
            <a:avLst/>
          </a:prstGeom>
          <a:noFill/>
        </p:spPr>
        <p:txBody>
          <a:bodyPr wrap="square" lIns="107287" tIns="53643" rIns="107287" bIns="53643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Более 28 лет опыта управления  бизнесом. Инвестиционная деятельность  в международных бизнес-проектах. </a:t>
            </a:r>
            <a:endParaRPr lang="ru-RU" sz="9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28" name="TextBox 27">
            <a:extLst>
              <a:ext uri="{FF2B5EF4-FFF2-40B4-BE49-F238E27FC236}"/>
            </a:extLst>
          </p:cNvPr>
          <p:cNvSpPr txBox="1"/>
          <p:nvPr/>
        </p:nvSpPr>
        <p:spPr>
          <a:xfrm>
            <a:off x="1635038" y="6262154"/>
            <a:ext cx="4968959" cy="523832"/>
          </a:xfrm>
          <a:prstGeom prst="rect">
            <a:avLst/>
          </a:prstGeom>
          <a:noFill/>
        </p:spPr>
        <p:txBody>
          <a:bodyPr wrap="square" lIns="107287" tIns="53643" rIns="107287" bIns="53643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Опыт маркетинга и продвижения проекта 4portfolio.ru  в социальных сетях с 2013 года. </a:t>
            </a:r>
            <a:r>
              <a:rPr lang="ru-RU" sz="9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Разработки и администрирования </a:t>
            </a:r>
            <a:r>
              <a:rPr lang="ru-RU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порталов и </a:t>
            </a:r>
            <a:r>
              <a:rPr lang="ru-RU" sz="900" dirty="0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сайтов,  в том числе в рамках </a:t>
            </a:r>
            <a:r>
              <a:rPr lang="ru-RU" sz="900" dirty="0" err="1" smtClean="0">
                <a:solidFill>
                  <a:srgbClr val="000000">
                    <a:lumMod val="65000"/>
                    <a:lumOff val="35000"/>
                  </a:srgbClr>
                </a:solidFill>
              </a:rPr>
              <a:t>Госзаданий</a:t>
            </a:r>
            <a:r>
              <a:rPr lang="ru-RU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,  </a:t>
            </a:r>
            <a:r>
              <a:rPr lang="ru-RU" sz="9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Госконтрактов</a:t>
            </a:r>
            <a:r>
              <a:rPr lang="ru-RU" sz="9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и др. </a:t>
            </a:r>
          </a:p>
        </p:txBody>
      </p:sp>
    </p:spTree>
    <p:extLst>
      <p:ext uri="{BB962C8B-B14F-4D97-AF65-F5344CB8AC3E}">
        <p14:creationId xmlns:p14="http://schemas.microsoft.com/office/powerpoint/2010/main" val="392179049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7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7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7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7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7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7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75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7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75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75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75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7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7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3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7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8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0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3" dur="7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7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5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8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34" grpId="0"/>
      <p:bldP spid="35" grpId="0"/>
      <p:bldP spid="37" grpId="0"/>
      <p:bldP spid="38" grpId="0"/>
      <p:bldP spid="40" grpId="0"/>
      <p:bldP spid="41" grpId="0"/>
      <p:bldP spid="42" grpId="0"/>
      <p:bldP spid="46" grpId="0"/>
      <p:bldP spid="47" grpId="0"/>
      <p:bldP spid="50" grpId="0"/>
      <p:bldP spid="51" grpId="0"/>
      <p:bldP spid="24" grpId="0"/>
      <p:bldP spid="25" grpId="0"/>
      <p:bldP spid="26" grpId="0"/>
      <p:bldP spid="27" grpId="0"/>
      <p:bldP spid="2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889000"/>
            <a:ext cx="12192000" cy="30469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spAutoFit/>
          </a:bodyPr>
          <a:lstStyle/>
          <a:p>
            <a:pPr>
              <a:defRPr/>
            </a:pPr>
            <a:endParaRPr lang="ru-RU" sz="2400" dirty="0"/>
          </a:p>
          <a:p>
            <a:pPr>
              <a:defRPr/>
            </a:pPr>
            <a:endParaRPr lang="ru-RU" sz="2400" dirty="0"/>
          </a:p>
          <a:p>
            <a:pPr>
              <a:defRPr/>
            </a:pPr>
            <a:endParaRPr lang="ru-RU" sz="2400" dirty="0"/>
          </a:p>
          <a:p>
            <a:pPr>
              <a:defRPr/>
            </a:pPr>
            <a:endParaRPr lang="ru-RU" sz="2400" dirty="0"/>
          </a:p>
          <a:p>
            <a:pPr>
              <a:defRPr/>
            </a:pPr>
            <a:endParaRPr lang="ru-RU" sz="2400" dirty="0"/>
          </a:p>
          <a:p>
            <a:pPr>
              <a:defRPr/>
            </a:pPr>
            <a:endParaRPr lang="ru-RU" sz="2400" dirty="0"/>
          </a:p>
          <a:p>
            <a:pPr>
              <a:defRPr/>
            </a:pPr>
            <a:endParaRPr lang="ru-RU" sz="2400" dirty="0"/>
          </a:p>
          <a:p>
            <a:pPr>
              <a:defRPr/>
            </a:pPr>
            <a:endParaRPr lang="ru-RU" sz="2400" dirty="0"/>
          </a:p>
        </p:txBody>
      </p:sp>
      <p:sp>
        <p:nvSpPr>
          <p:cNvPr id="14338" name="Название 1"/>
          <p:cNvSpPr>
            <a:spLocks noGrp="1"/>
          </p:cNvSpPr>
          <p:nvPr>
            <p:ph type="ctrTitle"/>
          </p:nvPr>
        </p:nvSpPr>
        <p:spPr>
          <a:xfrm>
            <a:off x="736600" y="3220859"/>
            <a:ext cx="5283200" cy="1450670"/>
          </a:xfrm>
        </p:spPr>
        <p:txBody>
          <a:bodyPr>
            <a:normAutofit fontScale="90000"/>
          </a:bodyPr>
          <a:lstStyle/>
          <a:p>
            <a:pPr algn="l">
              <a:lnSpc>
                <a:spcPct val="100000"/>
              </a:lnSpc>
            </a:pPr>
            <a:r>
              <a:rPr lang="ru-RU" altLang="ru-RU" sz="5333" dirty="0"/>
              <a:t/>
            </a:r>
            <a:br>
              <a:rPr lang="ru-RU" altLang="ru-RU" sz="5333" dirty="0"/>
            </a:br>
            <a:r>
              <a:rPr lang="ru-RU" altLang="ru-RU" sz="2000" dirty="0">
                <a:latin typeface="+mn-lt"/>
              </a:rPr>
              <a:t>Руководитель проекта </a:t>
            </a:r>
            <a:r>
              <a:rPr lang="ru-RU" altLang="ru-RU" sz="2700" dirty="0" smtClean="0">
                <a:latin typeface="+mn-lt"/>
              </a:rPr>
              <a:t/>
            </a:r>
            <a:br>
              <a:rPr lang="ru-RU" altLang="ru-RU" sz="2700" dirty="0" smtClean="0">
                <a:latin typeface="+mn-lt"/>
              </a:rPr>
            </a:br>
            <a:r>
              <a:rPr lang="ru-RU" altLang="ru-RU" sz="2700" dirty="0" smtClean="0">
                <a:latin typeface="+mn-lt"/>
              </a:rPr>
              <a:t>Панюкова </a:t>
            </a:r>
            <a:r>
              <a:rPr lang="ru-RU" altLang="ru-RU" sz="2700" dirty="0">
                <a:latin typeface="+mn-lt"/>
              </a:rPr>
              <a:t>Светлана </a:t>
            </a:r>
            <a:r>
              <a:rPr lang="ru-RU" altLang="ru-RU" sz="2700" dirty="0" smtClean="0">
                <a:latin typeface="+mn-lt"/>
              </a:rPr>
              <a:t>Валерьевна</a:t>
            </a:r>
            <a:br>
              <a:rPr lang="ru-RU" altLang="ru-RU" sz="2700" dirty="0" smtClean="0">
                <a:latin typeface="+mn-lt"/>
              </a:rPr>
            </a:br>
            <a:r>
              <a:rPr lang="ru-RU" altLang="ru-RU" sz="2700" dirty="0">
                <a:latin typeface="+mn-lt"/>
              </a:rPr>
              <a:t/>
            </a:r>
            <a:br>
              <a:rPr lang="ru-RU" altLang="ru-RU" sz="2700" dirty="0">
                <a:latin typeface="+mn-lt"/>
              </a:rPr>
            </a:br>
            <a:r>
              <a:rPr lang="ru-RU" altLang="ru-RU" sz="2000" dirty="0">
                <a:latin typeface="+mn-lt"/>
              </a:rPr>
              <a:t>Телефон 8 910 641-92-42</a:t>
            </a:r>
            <a:br>
              <a:rPr lang="ru-RU" altLang="ru-RU" sz="2000" dirty="0">
                <a:latin typeface="+mn-lt"/>
              </a:rPr>
            </a:br>
            <a:r>
              <a:rPr lang="ru-RU" altLang="ru-RU" sz="2000" dirty="0">
                <a:latin typeface="+mn-lt"/>
              </a:rPr>
              <a:t/>
            </a:r>
            <a:br>
              <a:rPr lang="ru-RU" altLang="ru-RU" sz="2000" dirty="0">
                <a:latin typeface="+mn-lt"/>
              </a:rPr>
            </a:br>
            <a:r>
              <a:rPr lang="ru-RU" altLang="ru-RU" sz="2000" dirty="0">
                <a:latin typeface="+mn-lt"/>
              </a:rPr>
              <a:t>E-</a:t>
            </a:r>
            <a:r>
              <a:rPr lang="ru-RU" altLang="ru-RU" sz="2000" dirty="0" err="1">
                <a:latin typeface="+mn-lt"/>
              </a:rPr>
              <a:t>mail</a:t>
            </a:r>
            <a:r>
              <a:rPr lang="ru-RU" altLang="ru-RU" sz="2000" dirty="0">
                <a:latin typeface="+mn-lt"/>
              </a:rPr>
              <a:t> s.panyukova@mail.ru</a:t>
            </a:r>
            <a:br>
              <a:rPr lang="ru-RU" altLang="ru-RU" sz="2000" dirty="0">
                <a:latin typeface="+mn-lt"/>
              </a:rPr>
            </a:br>
            <a:r>
              <a:rPr lang="ru-RU" altLang="ru-RU" sz="2000" dirty="0">
                <a:latin typeface="+mn-lt"/>
              </a:rPr>
              <a:t/>
            </a:r>
            <a:br>
              <a:rPr lang="ru-RU" altLang="ru-RU" sz="2000" dirty="0">
                <a:latin typeface="+mn-lt"/>
              </a:rPr>
            </a:br>
            <a:r>
              <a:rPr lang="ru-RU" altLang="ru-RU" sz="2000" dirty="0">
                <a:latin typeface="+mn-lt"/>
              </a:rPr>
              <a:t>Сайт 4portfolio.ru</a:t>
            </a:r>
            <a:r>
              <a:rPr lang="ru-RU" altLang="ru-RU" sz="2700" dirty="0">
                <a:latin typeface="+mn-lt"/>
              </a:rPr>
              <a:t/>
            </a:r>
            <a:br>
              <a:rPr lang="ru-RU" altLang="ru-RU" sz="2700" dirty="0">
                <a:latin typeface="+mn-lt"/>
              </a:rPr>
            </a:br>
            <a:r>
              <a:rPr lang="ru-RU" altLang="ru-RU" sz="2700" dirty="0">
                <a:latin typeface="+mn-lt"/>
              </a:rPr>
              <a:t/>
            </a:r>
            <a:br>
              <a:rPr lang="ru-RU" altLang="ru-RU" sz="2700" dirty="0">
                <a:latin typeface="+mn-lt"/>
              </a:rPr>
            </a:br>
            <a:r>
              <a:rPr lang="ru-RU" altLang="ru-RU" sz="2700" dirty="0">
                <a:latin typeface="+mn-lt"/>
              </a:rPr>
              <a:t>ID13367</a:t>
            </a:r>
            <a:br>
              <a:rPr lang="ru-RU" altLang="ru-RU" sz="2700" dirty="0">
                <a:latin typeface="+mn-lt"/>
              </a:rPr>
            </a:br>
            <a:endParaRPr lang="ru-RU" altLang="ru-RU" sz="4400" dirty="0">
              <a:latin typeface="+mn-lt"/>
            </a:endParaRPr>
          </a:p>
        </p:txBody>
      </p:sp>
      <p:pic>
        <p:nvPicPr>
          <p:cNvPr id="5" name="Рисунок 3" descr="IMG_8187-16-07-19-12-14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1005" y="4014788"/>
            <a:ext cx="2843212" cy="2843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Shape 1701">
            <a:extLst>
              <a:ext uri="{FF2B5EF4-FFF2-40B4-BE49-F238E27FC236}">
                <a16:creationId xmlns="" xmlns:a16="http://schemas.microsoft.com/office/drawing/2014/main" id="{FB58FB4D-F042-4BB9-B7BE-6CDD74234ACC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290733" y="889000"/>
            <a:ext cx="5666853" cy="5583047"/>
          </a:xfrm>
          <a:prstGeom prst="rect">
            <a:avLst/>
          </a:prstGeom>
          <a:noFill/>
          <a:ln>
            <a:noFill/>
          </a:ln>
          <a:effectLst>
            <a:outerShdw blurRad="304800" dist="279400" dir="2700000" algn="tl" rotWithShape="0">
              <a:prstClr val="black">
                <a:alpha val="18000"/>
              </a:prst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9927" y="1230389"/>
            <a:ext cx="4808459" cy="2510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748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ASI_new_format">
  <a:themeElements>
    <a:clrScheme name="Letter Blank 3">
      <a:dk1>
        <a:srgbClr val="000000"/>
      </a:dk1>
      <a:lt1>
        <a:srgbClr val="FFFFFF"/>
      </a:lt1>
      <a:dk2>
        <a:srgbClr val="345782"/>
      </a:dk2>
      <a:lt2>
        <a:srgbClr val="808080"/>
      </a:lt2>
      <a:accent1>
        <a:srgbClr val="E2E2E2"/>
      </a:accent1>
      <a:accent2>
        <a:srgbClr val="C5DCDF"/>
      </a:accent2>
      <a:accent3>
        <a:srgbClr val="FFFFFF"/>
      </a:accent3>
      <a:accent4>
        <a:srgbClr val="000000"/>
      </a:accent4>
      <a:accent5>
        <a:srgbClr val="EEEEEE"/>
      </a:accent5>
      <a:accent6>
        <a:srgbClr val="B2C7CA"/>
      </a:accent6>
      <a:hlink>
        <a:srgbClr val="5D8BA7"/>
      </a:hlink>
      <a:folHlink>
        <a:srgbClr val="9CBDC8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200" b="0" i="0" u="none" strike="noStrike" cap="none" normalizeH="0" baseline="0" dirty="0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wrap="none" lIns="91440" tIns="91440" rIns="91440" bIns="91440" rtlCol="0">
        <a:spAutoFit/>
      </a:bodyPr>
      <a:lstStyle>
        <a:defPPr algn="l">
          <a:defRPr sz="1200" dirty="0" smtClean="0">
            <a:solidFill>
              <a:srgbClr val="000000"/>
            </a:solidFill>
            <a:latin typeface="Tahoma" pitchFamily="34" charset="0"/>
            <a:cs typeface="Tahoma" pitchFamily="34" charset="0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Blank.potx" id="{1C47945D-F44A-45CC-A97B-69C7B57ED551}" vid="{54E0A883-0BB3-471D-9518-F28830240CE7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723</TotalTime>
  <Words>790</Words>
  <Application>Microsoft Office PowerPoint</Application>
  <PresentationFormat>Произвольный</PresentationFormat>
  <Paragraphs>95</Paragraphs>
  <Slides>8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1" baseType="lpstr">
      <vt:lpstr>Тема Office</vt:lpstr>
      <vt:lpstr>ASI_new_format</vt:lpstr>
      <vt:lpstr>think-cell Slide</vt:lpstr>
      <vt:lpstr> ООО «4Портфолио»</vt:lpstr>
      <vt:lpstr>В чем суть проекта</vt:lpstr>
      <vt:lpstr>Интеграция образования и рынка труда</vt:lpstr>
      <vt:lpstr>Презентация PowerPoint</vt:lpstr>
      <vt:lpstr>Презентация PowerPoint</vt:lpstr>
      <vt:lpstr>РОССИЙСКИЕ И МЕЖДУНАРОДНЫЕ НАУЧНЫЕ ПУБЛИКАЦИИ КОЛЛЕКТИВА </vt:lpstr>
      <vt:lpstr>Презентация PowerPoint</vt:lpstr>
      <vt:lpstr> Руководитель проекта  Панюкова Светлана Валерьевна  Телефон 8 910 641-92-42  E-mail s.panyukova@mail.ru  Сайт 4portfolio.ru  ID13367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компании/разработчика</dc:title>
  <dc:creator>Pronin Anton</dc:creator>
  <cp:lastModifiedBy>User</cp:lastModifiedBy>
  <cp:revision>100</cp:revision>
  <dcterms:created xsi:type="dcterms:W3CDTF">2019-06-24T10:13:52Z</dcterms:created>
  <dcterms:modified xsi:type="dcterms:W3CDTF">2020-10-21T22:55:09Z</dcterms:modified>
</cp:coreProperties>
</file>